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6"/>
  </p:sldMasterIdLst>
  <p:notesMasterIdLst>
    <p:notesMasterId r:id="rId26"/>
  </p:notesMasterIdLst>
  <p:handoutMasterIdLst>
    <p:handoutMasterId r:id="rId27"/>
  </p:handoutMasterIdLst>
  <p:sldIdLst>
    <p:sldId id="2038388004" r:id="rId7"/>
    <p:sldId id="2038387996" r:id="rId8"/>
    <p:sldId id="2038388007" r:id="rId9"/>
    <p:sldId id="2038388009" r:id="rId10"/>
    <p:sldId id="2038388006" r:id="rId11"/>
    <p:sldId id="2038388008" r:id="rId12"/>
    <p:sldId id="2038388010" r:id="rId13"/>
    <p:sldId id="2038388011" r:id="rId14"/>
    <p:sldId id="2038388012" r:id="rId15"/>
    <p:sldId id="2038388015" r:id="rId16"/>
    <p:sldId id="2038388022" r:id="rId17"/>
    <p:sldId id="2038388016" r:id="rId18"/>
    <p:sldId id="2038388013" r:id="rId19"/>
    <p:sldId id="2038388014" r:id="rId20"/>
    <p:sldId id="2038388017" r:id="rId21"/>
    <p:sldId id="2038388018" r:id="rId22"/>
    <p:sldId id="2038388019" r:id="rId23"/>
    <p:sldId id="2038388020" r:id="rId24"/>
    <p:sldId id="2038388005" r:id="rId25"/>
  </p:sldIdLst>
  <p:sldSz cx="12192000" cy="6858000"/>
  <p:notesSz cx="6858000" cy="9144000"/>
  <p:custDataLst>
    <p:tags r:id="rId28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 + Title slide" id="{6A990C13-C719-4415-B9EE-6988213AFCE5}">
          <p14:sldIdLst>
            <p14:sldId id="2038388004"/>
            <p14:sldId id="2038387996"/>
            <p14:sldId id="2038388007"/>
            <p14:sldId id="2038388009"/>
            <p14:sldId id="2038388006"/>
            <p14:sldId id="2038388008"/>
            <p14:sldId id="2038388010"/>
            <p14:sldId id="2038388011"/>
            <p14:sldId id="2038388012"/>
            <p14:sldId id="2038388015"/>
            <p14:sldId id="2038388022"/>
            <p14:sldId id="2038388016"/>
            <p14:sldId id="2038388013"/>
            <p14:sldId id="2038388014"/>
            <p14:sldId id="2038388017"/>
            <p14:sldId id="2038388018"/>
            <p14:sldId id="2038388019"/>
            <p14:sldId id="2038388020"/>
            <p14:sldId id="2038388005"/>
          </p14:sldIdLst>
        </p14:section>
        <p14:section name="Index" id="{6DD21D22-BAB8-4242-893A-B5C22E247607}">
          <p14:sldIdLst/>
        </p14:section>
        <p14:section name="Text &amp; Picture" id="{B898C80B-5D53-4F9A-B5C0-32475F444FB3}">
          <p14:sldIdLst/>
        </p14:section>
        <p14:section name="Media" id="{1B86FFC4-D6C9-4ED6-AD21-72F2871047AF}">
          <p14:sldIdLst/>
        </p14:section>
        <p14:section name="Tables &amp; Graphs" id="{B3012F12-BE31-43CC-8911-BB1FCBE1D524}">
          <p14:sldIdLst/>
        </p14:section>
        <p14:section name="Questions &amp; Closure" id="{BF5E9D6A-6470-4F4B-98B6-2E0BE069BA4C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20E3027-DA8C-9660-D3AF-224BC65F446B}" name="Thijs van den Hout" initials="TH" userId="S::thijs.vandenhout@sidn.nl::cf2f1bf0-7cc6-4a2f-bd17-84712dee48be" providerId="AD"/>
  <p188:author id="{5A1CEF39-F78C-3F8D-1B20-81539891B255}" name="Alfredo Garcia Frias" initials="AF" userId="S::alfredo.garciafrias@sidn.nl::c1956025-1d23-47a3-8edd-a87d91be603d" providerId="AD"/>
  <p188:author id="{39889742-487E-35D9-61AC-D36497985D98}" name="Thymen Wabeke" initials="TW" userId="S::thymen.wabeke@sidn.nl::3dd62e0b-09f7-4533-ac1a-598bf0618bf0" providerId="AD"/>
  <p188:author id="{67F4FC7A-C980-0E0B-0FDA-774171F9C367}" name="Thijs van den Hout" initials="" userId="S::thijs.vandenhout@SIDN.nl::cf2f1bf0-7cc6-4a2f-bd17-84712dee48be" providerId="AD"/>
  <p188:author id="{614C2A8C-EFC6-874D-1FB5-22EBD4439B9A}" name="Moritz Muller" initials="MM" userId="S::moritz.muller@sidn.nl::7cf10e48-60c3-4c1d-9f08-66ccf77f6c1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56565"/>
    <a:srgbClr val="252254"/>
    <a:srgbClr val="262157"/>
    <a:srgbClr val="9578DA"/>
    <a:srgbClr val="BDA3DA"/>
    <a:srgbClr val="C2BDDE"/>
    <a:srgbClr val="BFE7FF"/>
    <a:srgbClr val="FDD2CE"/>
    <a:srgbClr val="EEEEEE"/>
    <a:srgbClr val="94A3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ED5B70-E035-C94A-866E-094152EF2161}" v="15" dt="2025-09-24T14:34:01.1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51"/>
    <p:restoredTop sz="88033"/>
  </p:normalViewPr>
  <p:slideViewPr>
    <p:cSldViewPr snapToGrid="0">
      <p:cViewPr varScale="1">
        <p:scale>
          <a:sx n="111" d="100"/>
          <a:sy n="111" d="100"/>
        </p:scale>
        <p:origin x="1032" y="1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ijs van den Hout" userId="cf2f1bf0-7cc6-4a2f-bd17-84712dee48be" providerId="ADAL" clId="{AB3D11F7-6E7A-5503-8848-61DA55AAFD70}"/>
    <pc:docChg chg="undo redo custSel addSld delSld modSld sldOrd modSection">
      <pc:chgData name="Thijs van den Hout" userId="cf2f1bf0-7cc6-4a2f-bd17-84712dee48be" providerId="ADAL" clId="{AB3D11F7-6E7A-5503-8848-61DA55AAFD70}" dt="2025-09-24T14:35:09.062" v="3113" actId="1076"/>
      <pc:docMkLst>
        <pc:docMk/>
      </pc:docMkLst>
      <pc:sldChg chg="del">
        <pc:chgData name="Thijs van den Hout" userId="cf2f1bf0-7cc6-4a2f-bd17-84712dee48be" providerId="ADAL" clId="{AB3D11F7-6E7A-5503-8848-61DA55AAFD70}" dt="2025-09-17T12:17:39.682" v="1859" actId="2696"/>
        <pc:sldMkLst>
          <pc:docMk/>
          <pc:sldMk cId="1326842275" sldId="272"/>
        </pc:sldMkLst>
      </pc:sldChg>
      <pc:sldChg chg="modNotesTx">
        <pc:chgData name="Thijs van den Hout" userId="cf2f1bf0-7cc6-4a2f-bd17-84712dee48be" providerId="ADAL" clId="{AB3D11F7-6E7A-5503-8848-61DA55AAFD70}" dt="2025-09-17T12:18:05.710" v="1860" actId="20577"/>
        <pc:sldMkLst>
          <pc:docMk/>
          <pc:sldMk cId="3142003615" sldId="2038387996"/>
        </pc:sldMkLst>
      </pc:sldChg>
      <pc:sldChg chg="modSp mod modShow">
        <pc:chgData name="Thijs van den Hout" userId="cf2f1bf0-7cc6-4a2f-bd17-84712dee48be" providerId="ADAL" clId="{AB3D11F7-6E7A-5503-8848-61DA55AAFD70}" dt="2025-09-17T12:17:38.612" v="1858" actId="729"/>
        <pc:sldMkLst>
          <pc:docMk/>
          <pc:sldMk cId="1754196502" sldId="2038388004"/>
        </pc:sldMkLst>
        <pc:spChg chg="mod">
          <ac:chgData name="Thijs van den Hout" userId="cf2f1bf0-7cc6-4a2f-bd17-84712dee48be" providerId="ADAL" clId="{AB3D11F7-6E7A-5503-8848-61DA55AAFD70}" dt="2025-09-17T12:17:21.601" v="1857" actId="403"/>
          <ac:spMkLst>
            <pc:docMk/>
            <pc:sldMk cId="1754196502" sldId="2038388004"/>
            <ac:spMk id="237" creationId="{5B4E4308-CEDF-3E13-15DE-43966BCA802D}"/>
          </ac:spMkLst>
        </pc:spChg>
        <pc:spChg chg="mod">
          <ac:chgData name="Thijs van den Hout" userId="cf2f1bf0-7cc6-4a2f-bd17-84712dee48be" providerId="ADAL" clId="{AB3D11F7-6E7A-5503-8848-61DA55AAFD70}" dt="2025-09-17T12:17:18.915" v="1856" actId="403"/>
          <ac:spMkLst>
            <pc:docMk/>
            <pc:sldMk cId="1754196502" sldId="2038388004"/>
            <ac:spMk id="240" creationId="{9422FE05-2B3D-9FBD-1244-7929F2BBB055}"/>
          </ac:spMkLst>
        </pc:spChg>
      </pc:sldChg>
      <pc:sldChg chg="modSp mod ord">
        <pc:chgData name="Thijs van den Hout" userId="cf2f1bf0-7cc6-4a2f-bd17-84712dee48be" providerId="ADAL" clId="{AB3D11F7-6E7A-5503-8848-61DA55AAFD70}" dt="2025-09-24T13:21:55.746" v="3100" actId="20577"/>
        <pc:sldMkLst>
          <pc:docMk/>
          <pc:sldMk cId="3267889438" sldId="2038388005"/>
        </pc:sldMkLst>
        <pc:spChg chg="mod">
          <ac:chgData name="Thijs van den Hout" userId="cf2f1bf0-7cc6-4a2f-bd17-84712dee48be" providerId="ADAL" clId="{AB3D11F7-6E7A-5503-8848-61DA55AAFD70}" dt="2025-09-24T13:21:55.746" v="3100" actId="20577"/>
          <ac:spMkLst>
            <pc:docMk/>
            <pc:sldMk cId="3267889438" sldId="2038388005"/>
            <ac:spMk id="3" creationId="{4EE204B5-E049-2C07-60F9-A637EAF2211E}"/>
          </ac:spMkLst>
        </pc:spChg>
      </pc:sldChg>
      <pc:sldChg chg="modSp mod">
        <pc:chgData name="Thijs van den Hout" userId="cf2f1bf0-7cc6-4a2f-bd17-84712dee48be" providerId="ADAL" clId="{AB3D11F7-6E7A-5503-8848-61DA55AAFD70}" dt="2025-09-17T12:24:21.325" v="2162" actId="20577"/>
        <pc:sldMkLst>
          <pc:docMk/>
          <pc:sldMk cId="3256610496" sldId="2038388006"/>
        </pc:sldMkLst>
        <pc:spChg chg="mod">
          <ac:chgData name="Thijs van den Hout" userId="cf2f1bf0-7cc6-4a2f-bd17-84712dee48be" providerId="ADAL" clId="{AB3D11F7-6E7A-5503-8848-61DA55AAFD70}" dt="2025-09-17T12:24:21.325" v="2162" actId="20577"/>
          <ac:spMkLst>
            <pc:docMk/>
            <pc:sldMk cId="3256610496" sldId="2038388006"/>
            <ac:spMk id="2" creationId="{D4EBBABD-7176-93AD-4F91-C9E5C8C6AF9C}"/>
          </ac:spMkLst>
        </pc:spChg>
      </pc:sldChg>
      <pc:sldChg chg="modSp mod ord modNotesTx">
        <pc:chgData name="Thijs van den Hout" userId="cf2f1bf0-7cc6-4a2f-bd17-84712dee48be" providerId="ADAL" clId="{AB3D11F7-6E7A-5503-8848-61DA55AAFD70}" dt="2025-09-18T14:52:03.458" v="3076" actId="20577"/>
        <pc:sldMkLst>
          <pc:docMk/>
          <pc:sldMk cId="542343644" sldId="2038388007"/>
        </pc:sldMkLst>
        <pc:spChg chg="mod">
          <ac:chgData name="Thijs van den Hout" userId="cf2f1bf0-7cc6-4a2f-bd17-84712dee48be" providerId="ADAL" clId="{AB3D11F7-6E7A-5503-8848-61DA55AAFD70}" dt="2025-09-17T12:24:14.486" v="2159" actId="20577"/>
          <ac:spMkLst>
            <pc:docMk/>
            <pc:sldMk cId="542343644" sldId="2038388007"/>
            <ac:spMk id="2" creationId="{CCEBD2A9-CF45-4EEC-D367-ACF4B22970DA}"/>
          </ac:spMkLst>
        </pc:spChg>
      </pc:sldChg>
      <pc:sldChg chg="modSp mod modAnim modNotesTx">
        <pc:chgData name="Thijs van den Hout" userId="cf2f1bf0-7cc6-4a2f-bd17-84712dee48be" providerId="ADAL" clId="{AB3D11F7-6E7A-5503-8848-61DA55AAFD70}" dt="2025-09-18T14:52:08.135" v="3077" actId="20577"/>
        <pc:sldMkLst>
          <pc:docMk/>
          <pc:sldMk cId="3280184032" sldId="2038388008"/>
        </pc:sldMkLst>
        <pc:spChg chg="mod">
          <ac:chgData name="Thijs van den Hout" userId="cf2f1bf0-7cc6-4a2f-bd17-84712dee48be" providerId="ADAL" clId="{AB3D11F7-6E7A-5503-8848-61DA55AAFD70}" dt="2025-09-17T12:55:59.968" v="2431" actId="20577"/>
          <ac:spMkLst>
            <pc:docMk/>
            <pc:sldMk cId="3280184032" sldId="2038388008"/>
            <ac:spMk id="2" creationId="{C533D93A-2FFD-A633-E0C7-3C5A89DEF180}"/>
          </ac:spMkLst>
        </pc:spChg>
        <pc:spChg chg="mod">
          <ac:chgData name="Thijs van den Hout" userId="cf2f1bf0-7cc6-4a2f-bd17-84712dee48be" providerId="ADAL" clId="{AB3D11F7-6E7A-5503-8848-61DA55AAFD70}" dt="2025-09-17T13:06:22.980" v="2620" actId="20577"/>
          <ac:spMkLst>
            <pc:docMk/>
            <pc:sldMk cId="3280184032" sldId="2038388008"/>
            <ac:spMk id="3" creationId="{FEDB985A-A17B-1D85-8F22-FA8A125D77A7}"/>
          </ac:spMkLst>
        </pc:spChg>
      </pc:sldChg>
      <pc:sldChg chg="modSp mod ord">
        <pc:chgData name="Thijs van den Hout" userId="cf2f1bf0-7cc6-4a2f-bd17-84712dee48be" providerId="ADAL" clId="{AB3D11F7-6E7A-5503-8848-61DA55AAFD70}" dt="2025-09-17T12:24:17.832" v="2161" actId="6549"/>
        <pc:sldMkLst>
          <pc:docMk/>
          <pc:sldMk cId="1756630444" sldId="2038388009"/>
        </pc:sldMkLst>
        <pc:spChg chg="mod">
          <ac:chgData name="Thijs van den Hout" userId="cf2f1bf0-7cc6-4a2f-bd17-84712dee48be" providerId="ADAL" clId="{AB3D11F7-6E7A-5503-8848-61DA55AAFD70}" dt="2025-09-17T12:24:17.832" v="2161" actId="6549"/>
          <ac:spMkLst>
            <pc:docMk/>
            <pc:sldMk cId="1756630444" sldId="2038388009"/>
            <ac:spMk id="2" creationId="{9337217A-8758-729A-5F26-4E0BFB118873}"/>
          </ac:spMkLst>
        </pc:spChg>
      </pc:sldChg>
      <pc:sldChg chg="modSp mod">
        <pc:chgData name="Thijs van den Hout" userId="cf2f1bf0-7cc6-4a2f-bd17-84712dee48be" providerId="ADAL" clId="{AB3D11F7-6E7A-5503-8848-61DA55AAFD70}" dt="2025-09-24T14:32:50.551" v="3102" actId="20577"/>
        <pc:sldMkLst>
          <pc:docMk/>
          <pc:sldMk cId="3031109789" sldId="2038388010"/>
        </pc:sldMkLst>
        <pc:spChg chg="mod">
          <ac:chgData name="Thijs van den Hout" userId="cf2f1bf0-7cc6-4a2f-bd17-84712dee48be" providerId="ADAL" clId="{AB3D11F7-6E7A-5503-8848-61DA55AAFD70}" dt="2025-09-24T14:32:50.551" v="3102" actId="20577"/>
          <ac:spMkLst>
            <pc:docMk/>
            <pc:sldMk cId="3031109789" sldId="2038388010"/>
            <ac:spMk id="3" creationId="{2B5F5ED0-894F-18EE-E498-346299B9DCAF}"/>
          </ac:spMkLst>
        </pc:spChg>
      </pc:sldChg>
      <pc:sldChg chg="delSp modSp mod modAnim">
        <pc:chgData name="Thijs van den Hout" userId="cf2f1bf0-7cc6-4a2f-bd17-84712dee48be" providerId="ADAL" clId="{AB3D11F7-6E7A-5503-8848-61DA55AAFD70}" dt="2025-09-24T11:35:29.939" v="3084"/>
        <pc:sldMkLst>
          <pc:docMk/>
          <pc:sldMk cId="4290946567" sldId="2038388011"/>
        </pc:sldMkLst>
        <pc:spChg chg="mod">
          <ac:chgData name="Thijs van den Hout" userId="cf2f1bf0-7cc6-4a2f-bd17-84712dee48be" providerId="ADAL" clId="{AB3D11F7-6E7A-5503-8848-61DA55AAFD70}" dt="2025-09-17T12:37:10.628" v="2260" actId="20577"/>
          <ac:spMkLst>
            <pc:docMk/>
            <pc:sldMk cId="4290946567" sldId="2038388011"/>
            <ac:spMk id="2" creationId="{BDF2051F-F2DA-DA9C-6F42-5C307F46D17B}"/>
          </ac:spMkLst>
        </pc:spChg>
        <pc:spChg chg="mod">
          <ac:chgData name="Thijs van den Hout" userId="cf2f1bf0-7cc6-4a2f-bd17-84712dee48be" providerId="ADAL" clId="{AB3D11F7-6E7A-5503-8848-61DA55AAFD70}" dt="2025-09-16T11:54:07.098" v="1530" actId="14100"/>
          <ac:spMkLst>
            <pc:docMk/>
            <pc:sldMk cId="4290946567" sldId="2038388011"/>
            <ac:spMk id="3" creationId="{4521EF4E-AF13-D393-B2BD-D06A8CD8A0F2}"/>
          </ac:spMkLst>
        </pc:spChg>
        <pc:picChg chg="mod">
          <ac:chgData name="Thijs van den Hout" userId="cf2f1bf0-7cc6-4a2f-bd17-84712dee48be" providerId="ADAL" clId="{AB3D11F7-6E7A-5503-8848-61DA55AAFD70}" dt="2025-09-16T11:54:25.793" v="1540" actId="1036"/>
          <ac:picMkLst>
            <pc:docMk/>
            <pc:sldMk cId="4290946567" sldId="2038388011"/>
            <ac:picMk id="5" creationId="{730CB2B0-0861-5294-DE87-C7E9D369EE17}"/>
          </ac:picMkLst>
        </pc:picChg>
        <pc:picChg chg="mod">
          <ac:chgData name="Thijs van den Hout" userId="cf2f1bf0-7cc6-4a2f-bd17-84712dee48be" providerId="ADAL" clId="{AB3D11F7-6E7A-5503-8848-61DA55AAFD70}" dt="2025-09-16T11:54:25.793" v="1540" actId="1036"/>
          <ac:picMkLst>
            <pc:docMk/>
            <pc:sldMk cId="4290946567" sldId="2038388011"/>
            <ac:picMk id="7" creationId="{9CA46DA7-B3D3-6E82-19EE-8CE8C9F05ADF}"/>
          </ac:picMkLst>
        </pc:picChg>
      </pc:sldChg>
      <pc:sldChg chg="addSp delSp modSp mod modAnim">
        <pc:chgData name="Thijs van den Hout" userId="cf2f1bf0-7cc6-4a2f-bd17-84712dee48be" providerId="ADAL" clId="{AB3D11F7-6E7A-5503-8848-61DA55AAFD70}" dt="2025-09-17T14:20:11.676" v="2695" actId="20577"/>
        <pc:sldMkLst>
          <pc:docMk/>
          <pc:sldMk cId="1901709450" sldId="2038388012"/>
        </pc:sldMkLst>
        <pc:spChg chg="mod">
          <ac:chgData name="Thijs van den Hout" userId="cf2f1bf0-7cc6-4a2f-bd17-84712dee48be" providerId="ADAL" clId="{AB3D11F7-6E7A-5503-8848-61DA55AAFD70}" dt="2025-09-17T14:20:11.676" v="2695" actId="20577"/>
          <ac:spMkLst>
            <pc:docMk/>
            <pc:sldMk cId="1901709450" sldId="2038388012"/>
            <ac:spMk id="2" creationId="{6BEF6775-48B2-D547-A9B0-13ACCB28395E}"/>
          </ac:spMkLst>
        </pc:spChg>
        <pc:spChg chg="mod">
          <ac:chgData name="Thijs van den Hout" userId="cf2f1bf0-7cc6-4a2f-bd17-84712dee48be" providerId="ADAL" clId="{AB3D11F7-6E7A-5503-8848-61DA55AAFD70}" dt="2025-09-17T14:01:51.669" v="2631" actId="20577"/>
          <ac:spMkLst>
            <pc:docMk/>
            <pc:sldMk cId="1901709450" sldId="2038388012"/>
            <ac:spMk id="3" creationId="{6C049A66-7F9C-D211-B986-D936B819DBBD}"/>
          </ac:spMkLst>
        </pc:spChg>
        <pc:graphicFrameChg chg="add mod modGraphic">
          <ac:chgData name="Thijs van den Hout" userId="cf2f1bf0-7cc6-4a2f-bd17-84712dee48be" providerId="ADAL" clId="{AB3D11F7-6E7A-5503-8848-61DA55AAFD70}" dt="2025-09-16T12:03:17.888" v="1716" actId="2084"/>
          <ac:graphicFrameMkLst>
            <pc:docMk/>
            <pc:sldMk cId="1901709450" sldId="2038388012"/>
            <ac:graphicFrameMk id="5" creationId="{5905F980-13B2-C067-929E-404258EBD964}"/>
          </ac:graphicFrameMkLst>
        </pc:graphicFrameChg>
      </pc:sldChg>
      <pc:sldChg chg="modSp mod modAnim">
        <pc:chgData name="Thijs van den Hout" userId="cf2f1bf0-7cc6-4a2f-bd17-84712dee48be" providerId="ADAL" clId="{AB3D11F7-6E7A-5503-8848-61DA55AAFD70}" dt="2025-09-24T14:34:01.154" v="3108"/>
        <pc:sldMkLst>
          <pc:docMk/>
          <pc:sldMk cId="316548813" sldId="2038388013"/>
        </pc:sldMkLst>
        <pc:spChg chg="mod">
          <ac:chgData name="Thijs van den Hout" userId="cf2f1bf0-7cc6-4a2f-bd17-84712dee48be" providerId="ADAL" clId="{AB3D11F7-6E7A-5503-8848-61DA55AAFD70}" dt="2025-09-18T10:07:02.959" v="2879" actId="20577"/>
          <ac:spMkLst>
            <pc:docMk/>
            <pc:sldMk cId="316548813" sldId="2038388013"/>
            <ac:spMk id="3" creationId="{3D4BE7D5-09A6-8DDE-3EF2-CC6E824E19A9}"/>
          </ac:spMkLst>
        </pc:spChg>
        <pc:spChg chg="mod">
          <ac:chgData name="Thijs van den Hout" userId="cf2f1bf0-7cc6-4a2f-bd17-84712dee48be" providerId="ADAL" clId="{AB3D11F7-6E7A-5503-8848-61DA55AAFD70}" dt="2025-09-18T09:34:13.488" v="2869" actId="113"/>
          <ac:spMkLst>
            <pc:docMk/>
            <pc:sldMk cId="316548813" sldId="2038388013"/>
            <ac:spMk id="7" creationId="{DE31F00B-D355-06A2-D1C9-5029D884B6A9}"/>
          </ac:spMkLst>
        </pc:spChg>
        <pc:spChg chg="mod">
          <ac:chgData name="Thijs van den Hout" userId="cf2f1bf0-7cc6-4a2f-bd17-84712dee48be" providerId="ADAL" clId="{AB3D11F7-6E7A-5503-8848-61DA55AAFD70}" dt="2025-09-18T09:34:14.379" v="2870" actId="113"/>
          <ac:spMkLst>
            <pc:docMk/>
            <pc:sldMk cId="316548813" sldId="2038388013"/>
            <ac:spMk id="8" creationId="{37F7EF5A-2762-D15F-5866-712AD8895DC1}"/>
          </ac:spMkLst>
        </pc:spChg>
        <pc:spChg chg="mod">
          <ac:chgData name="Thijs van den Hout" userId="cf2f1bf0-7cc6-4a2f-bd17-84712dee48be" providerId="ADAL" clId="{AB3D11F7-6E7A-5503-8848-61DA55AAFD70}" dt="2025-09-16T11:57:35.061" v="1613" actId="1076"/>
          <ac:spMkLst>
            <pc:docMk/>
            <pc:sldMk cId="316548813" sldId="2038388013"/>
            <ac:spMk id="9" creationId="{26DD16FE-0FA9-967B-213B-7EBD5880B313}"/>
          </ac:spMkLst>
        </pc:spChg>
        <pc:spChg chg="mod">
          <ac:chgData name="Thijs van den Hout" userId="cf2f1bf0-7cc6-4a2f-bd17-84712dee48be" providerId="ADAL" clId="{AB3D11F7-6E7A-5503-8848-61DA55AAFD70}" dt="2025-09-16T11:57:29.903" v="1612" actId="1038"/>
          <ac:spMkLst>
            <pc:docMk/>
            <pc:sldMk cId="316548813" sldId="2038388013"/>
            <ac:spMk id="10" creationId="{F742991A-E21D-E5BE-60EF-65E5DD949721}"/>
          </ac:spMkLst>
        </pc:spChg>
        <pc:graphicFrameChg chg="mod modGraphic">
          <ac:chgData name="Thijs van den Hout" userId="cf2f1bf0-7cc6-4a2f-bd17-84712dee48be" providerId="ADAL" clId="{AB3D11F7-6E7A-5503-8848-61DA55AAFD70}" dt="2025-09-18T09:34:00.166" v="2867" actId="14100"/>
          <ac:graphicFrameMkLst>
            <pc:docMk/>
            <pc:sldMk cId="316548813" sldId="2038388013"/>
            <ac:graphicFrameMk id="4" creationId="{57E6DC7A-0245-6DE1-B096-42ECB268C3A3}"/>
          </ac:graphicFrameMkLst>
        </pc:graphicFrameChg>
        <pc:graphicFrameChg chg="mod modGraphic">
          <ac:chgData name="Thijs van den Hout" userId="cf2f1bf0-7cc6-4a2f-bd17-84712dee48be" providerId="ADAL" clId="{AB3D11F7-6E7A-5503-8848-61DA55AAFD70}" dt="2025-09-18T09:34:02.446" v="2868" actId="14100"/>
          <ac:graphicFrameMkLst>
            <pc:docMk/>
            <pc:sldMk cId="316548813" sldId="2038388013"/>
            <ac:graphicFrameMk id="5" creationId="{426DCBCE-C849-0918-A6BD-6F217B1E9121}"/>
          </ac:graphicFrameMkLst>
        </pc:graphicFrameChg>
        <pc:picChg chg="mod">
          <ac:chgData name="Thijs van den Hout" userId="cf2f1bf0-7cc6-4a2f-bd17-84712dee48be" providerId="ADAL" clId="{AB3D11F7-6E7A-5503-8848-61DA55AAFD70}" dt="2025-09-16T11:57:29.903" v="1612" actId="1038"/>
          <ac:picMkLst>
            <pc:docMk/>
            <pc:sldMk cId="316548813" sldId="2038388013"/>
            <ac:picMk id="1026" creationId="{A4B09C37-D5FA-E0A5-9A5C-7608180DC4D9}"/>
          </ac:picMkLst>
        </pc:picChg>
      </pc:sldChg>
      <pc:sldChg chg="modSp mod modAnim">
        <pc:chgData name="Thijs van den Hout" userId="cf2f1bf0-7cc6-4a2f-bd17-84712dee48be" providerId="ADAL" clId="{AB3D11F7-6E7A-5503-8848-61DA55AAFD70}" dt="2025-09-18T13:50:04.691" v="3075"/>
        <pc:sldMkLst>
          <pc:docMk/>
          <pc:sldMk cId="3965336" sldId="2038388014"/>
        </pc:sldMkLst>
        <pc:spChg chg="mod">
          <ac:chgData name="Thijs van den Hout" userId="cf2f1bf0-7cc6-4a2f-bd17-84712dee48be" providerId="ADAL" clId="{AB3D11F7-6E7A-5503-8848-61DA55AAFD70}" dt="2025-09-17T12:46:21.767" v="2277" actId="20577"/>
          <ac:spMkLst>
            <pc:docMk/>
            <pc:sldMk cId="3965336" sldId="2038388014"/>
            <ac:spMk id="2" creationId="{8A56835F-6B8B-B9E2-5445-A738A5ADC80D}"/>
          </ac:spMkLst>
        </pc:spChg>
        <pc:spChg chg="mod">
          <ac:chgData name="Thijs van den Hout" userId="cf2f1bf0-7cc6-4a2f-bd17-84712dee48be" providerId="ADAL" clId="{AB3D11F7-6E7A-5503-8848-61DA55AAFD70}" dt="2025-09-18T08:58:10.024" v="2785" actId="20577"/>
          <ac:spMkLst>
            <pc:docMk/>
            <pc:sldMk cId="3965336" sldId="2038388014"/>
            <ac:spMk id="3" creationId="{73C6D4BF-44B7-9C3C-6DB4-1FE43CE6ABC9}"/>
          </ac:spMkLst>
        </pc:spChg>
      </pc:sldChg>
      <pc:sldChg chg="addSp delSp modSp mod">
        <pc:chgData name="Thijs van den Hout" userId="cf2f1bf0-7cc6-4a2f-bd17-84712dee48be" providerId="ADAL" clId="{AB3D11F7-6E7A-5503-8848-61DA55AAFD70}" dt="2025-09-18T09:33:21.114" v="2857" actId="207"/>
        <pc:sldMkLst>
          <pc:docMk/>
          <pc:sldMk cId="461291234" sldId="2038388015"/>
        </pc:sldMkLst>
        <pc:spChg chg="mod">
          <ac:chgData name="Thijs van den Hout" userId="cf2f1bf0-7cc6-4a2f-bd17-84712dee48be" providerId="ADAL" clId="{AB3D11F7-6E7A-5503-8848-61DA55AAFD70}" dt="2025-09-18T09:01:23.837" v="2786"/>
          <ac:spMkLst>
            <pc:docMk/>
            <pc:sldMk cId="461291234" sldId="2038388015"/>
            <ac:spMk id="3" creationId="{1C0F66DC-F05A-D4D5-637F-9F09C2B53FD7}"/>
          </ac:spMkLst>
        </pc:spChg>
        <pc:graphicFrameChg chg="add mod modGraphic">
          <ac:chgData name="Thijs van den Hout" userId="cf2f1bf0-7cc6-4a2f-bd17-84712dee48be" providerId="ADAL" clId="{AB3D11F7-6E7A-5503-8848-61DA55AAFD70}" dt="2025-09-18T09:33:21.114" v="2857" actId="207"/>
          <ac:graphicFrameMkLst>
            <pc:docMk/>
            <pc:sldMk cId="461291234" sldId="2038388015"/>
            <ac:graphicFrameMk id="4" creationId="{6726654D-B8AD-52A6-90C9-7F7CC7DB5422}"/>
          </ac:graphicFrameMkLst>
        </pc:graphicFrameChg>
      </pc:sldChg>
      <pc:sldChg chg="addSp delSp modSp mod">
        <pc:chgData name="Thijs van den Hout" userId="cf2f1bf0-7cc6-4a2f-bd17-84712dee48be" providerId="ADAL" clId="{AB3D11F7-6E7A-5503-8848-61DA55AAFD70}" dt="2025-09-18T09:33:48.104" v="2862" actId="14100"/>
        <pc:sldMkLst>
          <pc:docMk/>
          <pc:sldMk cId="2926606247" sldId="2038388016"/>
        </pc:sldMkLst>
        <pc:spChg chg="mod">
          <ac:chgData name="Thijs van den Hout" userId="cf2f1bf0-7cc6-4a2f-bd17-84712dee48be" providerId="ADAL" clId="{AB3D11F7-6E7A-5503-8848-61DA55AAFD70}" dt="2025-09-18T09:01:28.578" v="2788"/>
          <ac:spMkLst>
            <pc:docMk/>
            <pc:sldMk cId="2926606247" sldId="2038388016"/>
            <ac:spMk id="3" creationId="{07333998-9F5A-1B93-29D9-74267DC2CB9F}"/>
          </ac:spMkLst>
        </pc:spChg>
        <pc:graphicFrameChg chg="mod modGraphic">
          <ac:chgData name="Thijs van den Hout" userId="cf2f1bf0-7cc6-4a2f-bd17-84712dee48be" providerId="ADAL" clId="{AB3D11F7-6E7A-5503-8848-61DA55AAFD70}" dt="2025-09-18T09:33:48.104" v="2862" actId="14100"/>
          <ac:graphicFrameMkLst>
            <pc:docMk/>
            <pc:sldMk cId="2926606247" sldId="2038388016"/>
            <ac:graphicFrameMk id="5" creationId="{8CFE1C45-0988-2AF0-E0DF-3DCE3CE267DF}"/>
          </ac:graphicFrameMkLst>
        </pc:graphicFrameChg>
        <pc:graphicFrameChg chg="add mod">
          <ac:chgData name="Thijs van den Hout" userId="cf2f1bf0-7cc6-4a2f-bd17-84712dee48be" providerId="ADAL" clId="{AB3D11F7-6E7A-5503-8848-61DA55AAFD70}" dt="2025-09-18T09:33:36.540" v="2860" actId="1076"/>
          <ac:graphicFrameMkLst>
            <pc:docMk/>
            <pc:sldMk cId="2926606247" sldId="2038388016"/>
            <ac:graphicFrameMk id="7" creationId="{884D2C5C-B808-5925-4B91-ACC30E3CBB0E}"/>
          </ac:graphicFrameMkLst>
        </pc:graphicFrameChg>
      </pc:sldChg>
      <pc:sldChg chg="modSp mod">
        <pc:chgData name="Thijs van den Hout" userId="cf2f1bf0-7cc6-4a2f-bd17-84712dee48be" providerId="ADAL" clId="{AB3D11F7-6E7A-5503-8848-61DA55AAFD70}" dt="2025-09-18T12:11:53.724" v="2970" actId="20577"/>
        <pc:sldMkLst>
          <pc:docMk/>
          <pc:sldMk cId="2422489854" sldId="2038388017"/>
        </pc:sldMkLst>
        <pc:spChg chg="mod">
          <ac:chgData name="Thijs van den Hout" userId="cf2f1bf0-7cc6-4a2f-bd17-84712dee48be" providerId="ADAL" clId="{AB3D11F7-6E7A-5503-8848-61DA55AAFD70}" dt="2025-09-18T12:11:53.724" v="2970" actId="20577"/>
          <ac:spMkLst>
            <pc:docMk/>
            <pc:sldMk cId="2422489854" sldId="2038388017"/>
            <ac:spMk id="3" creationId="{CEB9EC47-44D8-8F0B-A93C-3A2B5BA1E3EA}"/>
          </ac:spMkLst>
        </pc:spChg>
      </pc:sldChg>
      <pc:sldChg chg="addSp modSp mod ord">
        <pc:chgData name="Thijs van den Hout" userId="cf2f1bf0-7cc6-4a2f-bd17-84712dee48be" providerId="ADAL" clId="{AB3D11F7-6E7A-5503-8848-61DA55AAFD70}" dt="2025-09-18T12:59:19.907" v="3010" actId="20577"/>
        <pc:sldMkLst>
          <pc:docMk/>
          <pc:sldMk cId="2757580028" sldId="2038388018"/>
        </pc:sldMkLst>
        <pc:spChg chg="mod">
          <ac:chgData name="Thijs van den Hout" userId="cf2f1bf0-7cc6-4a2f-bd17-84712dee48be" providerId="ADAL" clId="{AB3D11F7-6E7A-5503-8848-61DA55AAFD70}" dt="2025-09-18T12:59:19.907" v="3010" actId="20577"/>
          <ac:spMkLst>
            <pc:docMk/>
            <pc:sldMk cId="2757580028" sldId="2038388018"/>
            <ac:spMk id="2" creationId="{DA49F3CD-8E14-2C96-CC5D-5DB001CF280F}"/>
          </ac:spMkLst>
        </pc:spChg>
        <pc:spChg chg="mod">
          <ac:chgData name="Thijs van den Hout" userId="cf2f1bf0-7cc6-4a2f-bd17-84712dee48be" providerId="ADAL" clId="{AB3D11F7-6E7A-5503-8848-61DA55AAFD70}" dt="2025-09-18T12:56:37.459" v="2992" actId="115"/>
          <ac:spMkLst>
            <pc:docMk/>
            <pc:sldMk cId="2757580028" sldId="2038388018"/>
            <ac:spMk id="3" creationId="{382F5E12-AA54-732B-8170-51A0F03EE52B}"/>
          </ac:spMkLst>
        </pc:spChg>
        <pc:picChg chg="add mod">
          <ac:chgData name="Thijs van den Hout" userId="cf2f1bf0-7cc6-4a2f-bd17-84712dee48be" providerId="ADAL" clId="{AB3D11F7-6E7A-5503-8848-61DA55AAFD70}" dt="2025-09-18T12:56:01.173" v="2980" actId="14100"/>
          <ac:picMkLst>
            <pc:docMk/>
            <pc:sldMk cId="2757580028" sldId="2038388018"/>
            <ac:picMk id="5" creationId="{7C3A27E6-EEC5-16E0-C8AF-1B0547C738A9}"/>
          </ac:picMkLst>
        </pc:picChg>
      </pc:sldChg>
      <pc:sldChg chg="addSp delSp modSp add mod">
        <pc:chgData name="Thijs van den Hout" userId="cf2f1bf0-7cc6-4a2f-bd17-84712dee48be" providerId="ADAL" clId="{AB3D11F7-6E7A-5503-8848-61DA55AAFD70}" dt="2025-09-24T14:35:09.062" v="3113" actId="1076"/>
        <pc:sldMkLst>
          <pc:docMk/>
          <pc:sldMk cId="412955749" sldId="2038388019"/>
        </pc:sldMkLst>
        <pc:spChg chg="mod">
          <ac:chgData name="Thijs van den Hout" userId="cf2f1bf0-7cc6-4a2f-bd17-84712dee48be" providerId="ADAL" clId="{AB3D11F7-6E7A-5503-8848-61DA55AAFD70}" dt="2025-09-18T12:59:36.988" v="3015" actId="1035"/>
          <ac:spMkLst>
            <pc:docMk/>
            <pc:sldMk cId="412955749" sldId="2038388019"/>
            <ac:spMk id="2" creationId="{2F23D68E-DA20-751B-8EC7-EC57BC23B8D5}"/>
          </ac:spMkLst>
        </pc:spChg>
        <pc:spChg chg="del mod">
          <ac:chgData name="Thijs van den Hout" userId="cf2f1bf0-7cc6-4a2f-bd17-84712dee48be" providerId="ADAL" clId="{AB3D11F7-6E7A-5503-8848-61DA55AAFD70}" dt="2025-09-24T14:35:00.224" v="3110" actId="478"/>
          <ac:spMkLst>
            <pc:docMk/>
            <pc:sldMk cId="412955749" sldId="2038388019"/>
            <ac:spMk id="3" creationId="{6C888BED-10AA-49A6-E588-D368EEF88489}"/>
          </ac:spMkLst>
        </pc:spChg>
        <pc:spChg chg="add del mod">
          <ac:chgData name="Thijs van den Hout" userId="cf2f1bf0-7cc6-4a2f-bd17-84712dee48be" providerId="ADAL" clId="{AB3D11F7-6E7A-5503-8848-61DA55AAFD70}" dt="2025-09-24T14:35:07.116" v="3112" actId="478"/>
          <ac:spMkLst>
            <pc:docMk/>
            <pc:sldMk cId="412955749" sldId="2038388019"/>
            <ac:spMk id="5" creationId="{06A5D43B-338A-C23C-168E-2A55F30015DA}"/>
          </ac:spMkLst>
        </pc:spChg>
        <pc:picChg chg="add mod">
          <ac:chgData name="Thijs van den Hout" userId="cf2f1bf0-7cc6-4a2f-bd17-84712dee48be" providerId="ADAL" clId="{AB3D11F7-6E7A-5503-8848-61DA55AAFD70}" dt="2025-09-24T14:35:09.062" v="3113" actId="1076"/>
          <ac:picMkLst>
            <pc:docMk/>
            <pc:sldMk cId="412955749" sldId="2038388019"/>
            <ac:picMk id="6" creationId="{6EE6C377-2AEE-DF1B-1EC1-F86B49E9852B}"/>
          </ac:picMkLst>
        </pc:picChg>
      </pc:sldChg>
      <pc:sldChg chg="addSp delSp modSp new mod modAnim">
        <pc:chgData name="Thijs van den Hout" userId="cf2f1bf0-7cc6-4a2f-bd17-84712dee48be" providerId="ADAL" clId="{AB3D11F7-6E7A-5503-8848-61DA55AAFD70}" dt="2025-09-16T11:59:21.001" v="1676" actId="403"/>
        <pc:sldMkLst>
          <pc:docMk/>
          <pc:sldMk cId="410283746" sldId="2038388020"/>
        </pc:sldMkLst>
        <pc:spChg chg="mod">
          <ac:chgData name="Thijs van den Hout" userId="cf2f1bf0-7cc6-4a2f-bd17-84712dee48be" providerId="ADAL" clId="{AB3D11F7-6E7A-5503-8848-61DA55AAFD70}" dt="2025-08-26T13:15:12.324" v="565" actId="20577"/>
          <ac:spMkLst>
            <pc:docMk/>
            <pc:sldMk cId="410283746" sldId="2038388020"/>
            <ac:spMk id="2" creationId="{106B491F-B6C9-4997-A3BA-F8F683329030}"/>
          </ac:spMkLst>
        </pc:spChg>
        <pc:spChg chg="mod">
          <ac:chgData name="Thijs van den Hout" userId="cf2f1bf0-7cc6-4a2f-bd17-84712dee48be" providerId="ADAL" clId="{AB3D11F7-6E7A-5503-8848-61DA55AAFD70}" dt="2025-09-16T11:59:06.610" v="1674" actId="20577"/>
          <ac:spMkLst>
            <pc:docMk/>
            <pc:sldMk cId="410283746" sldId="2038388020"/>
            <ac:spMk id="3" creationId="{331CC5DC-FF70-09BB-511A-218D662D5EF6}"/>
          </ac:spMkLst>
        </pc:spChg>
        <pc:spChg chg="add mod">
          <ac:chgData name="Thijs van den Hout" userId="cf2f1bf0-7cc6-4a2f-bd17-84712dee48be" providerId="ADAL" clId="{AB3D11F7-6E7A-5503-8848-61DA55AAFD70}" dt="2025-09-16T11:59:21.001" v="1676" actId="403"/>
          <ac:spMkLst>
            <pc:docMk/>
            <pc:sldMk cId="410283746" sldId="2038388020"/>
            <ac:spMk id="7" creationId="{ED24FA33-2AA7-50AF-3E27-3D00320F07FA}"/>
          </ac:spMkLst>
        </pc:spChg>
        <pc:picChg chg="add mod">
          <ac:chgData name="Thijs van den Hout" userId="cf2f1bf0-7cc6-4a2f-bd17-84712dee48be" providerId="ADAL" clId="{AB3D11F7-6E7A-5503-8848-61DA55AAFD70}" dt="2025-09-16T11:59:15.247" v="1675" actId="167"/>
          <ac:picMkLst>
            <pc:docMk/>
            <pc:sldMk cId="410283746" sldId="2038388020"/>
            <ac:picMk id="5" creationId="{DA65FE8C-E3F8-0607-1403-6177A70BB8E9}"/>
          </ac:picMkLst>
        </pc:picChg>
        <pc:picChg chg="add mod">
          <ac:chgData name="Thijs van den Hout" userId="cf2f1bf0-7cc6-4a2f-bd17-84712dee48be" providerId="ADAL" clId="{AB3D11F7-6E7A-5503-8848-61DA55AAFD70}" dt="2025-08-26T13:19:03.126" v="867" actId="14100"/>
          <ac:picMkLst>
            <pc:docMk/>
            <pc:sldMk cId="410283746" sldId="2038388020"/>
            <ac:picMk id="6" creationId="{F55E2B60-467C-9C91-44BD-BF52151AE9F1}"/>
          </ac:picMkLst>
        </pc:picChg>
      </pc:sldChg>
      <pc:sldChg chg="addSp delSp modSp new del mod">
        <pc:chgData name="Thijs van den Hout" userId="cf2f1bf0-7cc6-4a2f-bd17-84712dee48be" providerId="ADAL" clId="{AB3D11F7-6E7A-5503-8848-61DA55AAFD70}" dt="2025-09-18T12:08:49.965" v="2880" actId="2696"/>
        <pc:sldMkLst>
          <pc:docMk/>
          <pc:sldMk cId="625931639" sldId="2038388021"/>
        </pc:sldMkLst>
      </pc:sldChg>
      <pc:sldChg chg="modSp add mod">
        <pc:chgData name="Thijs van den Hout" userId="cf2f1bf0-7cc6-4a2f-bd17-84712dee48be" providerId="ADAL" clId="{AB3D11F7-6E7A-5503-8848-61DA55AAFD70}" dt="2025-09-18T09:31:55.303" v="2824" actId="21"/>
        <pc:sldMkLst>
          <pc:docMk/>
          <pc:sldMk cId="3625742063" sldId="2038388022"/>
        </pc:sldMkLst>
        <pc:spChg chg="mod">
          <ac:chgData name="Thijs van den Hout" userId="cf2f1bf0-7cc6-4a2f-bd17-84712dee48be" providerId="ADAL" clId="{AB3D11F7-6E7A-5503-8848-61DA55AAFD70}" dt="2025-09-18T09:01:26.474" v="2787"/>
          <ac:spMkLst>
            <pc:docMk/>
            <pc:sldMk cId="3625742063" sldId="2038388022"/>
            <ac:spMk id="3" creationId="{D1E2A187-0452-D7D0-21F1-E57F4A3DA30E}"/>
          </ac:spMkLst>
        </pc:spChg>
        <pc:graphicFrameChg chg="mod modGraphic">
          <ac:chgData name="Thijs van den Hout" userId="cf2f1bf0-7cc6-4a2f-bd17-84712dee48be" providerId="ADAL" clId="{AB3D11F7-6E7A-5503-8848-61DA55AAFD70}" dt="2025-09-18T09:31:55.303" v="2824" actId="21"/>
          <ac:graphicFrameMkLst>
            <pc:docMk/>
            <pc:sldMk cId="3625742063" sldId="2038388022"/>
            <ac:graphicFrameMk id="7" creationId="{8B5BC374-E27F-B070-D4EC-B1D328CB6F91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4232DE-8C5F-4178-AA73-5BBFA247078F}" type="datetimeFigureOut">
              <a:rPr lang="nl-NL" smtClean="0"/>
              <a:t>24-09-2025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10F3A7-C9E4-4071-B2F5-015428B6B449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476737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62EBAE-29D1-4DD0-8BEB-0AC11FD72FA6}" type="datetimeFigureOut">
              <a:rPr lang="en-GB" smtClean="0"/>
              <a:t>24/09/2025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5642C7-031D-4E40-B5EB-9465C999AF8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0158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A26828-F64E-13AB-742D-7B1E75BB8C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FD486933-E568-0495-1B3F-5AA3E04AD5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5C7D41BD-EF03-49FE-CE0B-7EA995E771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21051B2-0649-7C0E-C0FF-E06F007132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88979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11660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38773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6772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86446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87823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/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id="{029A738E-9C8E-4876-8CFC-7C69EF5D0667}"/>
              </a:ext>
            </a:extLst>
          </p:cNvPr>
          <p:cNvGrpSpPr/>
          <p:nvPr userDrawn="1"/>
        </p:nvGrpSpPr>
        <p:grpSpPr>
          <a:xfrm>
            <a:off x="7063659" y="3060602"/>
            <a:ext cx="1729016" cy="525581"/>
            <a:chOff x="7063659" y="3060602"/>
            <a:chExt cx="1729016" cy="525581"/>
          </a:xfrm>
        </p:grpSpPr>
        <p:sp>
          <p:nvSpPr>
            <p:cNvPr id="89" name="Freeform 77">
              <a:extLst>
                <a:ext uri="{FF2B5EF4-FFF2-40B4-BE49-F238E27FC236}">
                  <a16:creationId xmlns:a16="http://schemas.microsoft.com/office/drawing/2014/main" id="{7F87F320-DF93-426B-B01B-1553D3195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3659" y="3060602"/>
              <a:ext cx="304543" cy="515757"/>
            </a:xfrm>
            <a:custGeom>
              <a:avLst/>
              <a:gdLst>
                <a:gd name="T0" fmla="*/ 0 w 62"/>
                <a:gd name="T1" fmla="*/ 0 h 105"/>
                <a:gd name="T2" fmla="*/ 22 w 62"/>
                <a:gd name="T3" fmla="*/ 0 h 105"/>
                <a:gd name="T4" fmla="*/ 22 w 62"/>
                <a:gd name="T5" fmla="*/ 88 h 105"/>
                <a:gd name="T6" fmla="*/ 62 w 62"/>
                <a:gd name="T7" fmla="*/ 88 h 105"/>
                <a:gd name="T8" fmla="*/ 62 w 62"/>
                <a:gd name="T9" fmla="*/ 105 h 105"/>
                <a:gd name="T10" fmla="*/ 0 w 62"/>
                <a:gd name="T11" fmla="*/ 105 h 105"/>
                <a:gd name="T12" fmla="*/ 0 w 62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5">
                  <a:moveTo>
                    <a:pt x="0" y="0"/>
                  </a:moveTo>
                  <a:lnTo>
                    <a:pt x="22" y="0"/>
                  </a:lnTo>
                  <a:lnTo>
                    <a:pt x="22" y="88"/>
                  </a:lnTo>
                  <a:lnTo>
                    <a:pt x="62" y="88"/>
                  </a:lnTo>
                  <a:lnTo>
                    <a:pt x="62" y="105"/>
                  </a:lnTo>
                  <a:lnTo>
                    <a:pt x="0" y="1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90" name="Freeform 78">
              <a:extLst>
                <a:ext uri="{FF2B5EF4-FFF2-40B4-BE49-F238E27FC236}">
                  <a16:creationId xmlns:a16="http://schemas.microsoft.com/office/drawing/2014/main" id="{CAF32A43-263A-4531-993D-477F3F71699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02586" y="3060602"/>
              <a:ext cx="515758" cy="515757"/>
            </a:xfrm>
            <a:custGeom>
              <a:avLst/>
              <a:gdLst>
                <a:gd name="T0" fmla="*/ 16 w 44"/>
                <a:gd name="T1" fmla="*/ 0 h 44"/>
                <a:gd name="T2" fmla="*/ 27 w 44"/>
                <a:gd name="T3" fmla="*/ 0 h 44"/>
                <a:gd name="T4" fmla="*/ 44 w 44"/>
                <a:gd name="T5" fmla="*/ 44 h 44"/>
                <a:gd name="T6" fmla="*/ 33 w 44"/>
                <a:gd name="T7" fmla="*/ 44 h 44"/>
                <a:gd name="T8" fmla="*/ 30 w 44"/>
                <a:gd name="T9" fmla="*/ 36 h 44"/>
                <a:gd name="T10" fmla="*/ 13 w 44"/>
                <a:gd name="T11" fmla="*/ 36 h 44"/>
                <a:gd name="T12" fmla="*/ 10 w 44"/>
                <a:gd name="T13" fmla="*/ 44 h 44"/>
                <a:gd name="T14" fmla="*/ 0 w 44"/>
                <a:gd name="T15" fmla="*/ 44 h 44"/>
                <a:gd name="T16" fmla="*/ 16 w 44"/>
                <a:gd name="T17" fmla="*/ 0 h 44"/>
                <a:gd name="T18" fmla="*/ 28 w 44"/>
                <a:gd name="T19" fmla="*/ 28 h 44"/>
                <a:gd name="T20" fmla="*/ 24 w 44"/>
                <a:gd name="T21" fmla="*/ 16 h 44"/>
                <a:gd name="T22" fmla="*/ 22 w 44"/>
                <a:gd name="T23" fmla="*/ 9 h 44"/>
                <a:gd name="T24" fmla="*/ 21 w 44"/>
                <a:gd name="T25" fmla="*/ 9 h 44"/>
                <a:gd name="T26" fmla="*/ 19 w 44"/>
                <a:gd name="T27" fmla="*/ 16 h 44"/>
                <a:gd name="T28" fmla="*/ 15 w 44"/>
                <a:gd name="T29" fmla="*/ 28 h 44"/>
                <a:gd name="T30" fmla="*/ 28 w 44"/>
                <a:gd name="T31" fmla="*/ 2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44">
                  <a:moveTo>
                    <a:pt x="16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0" y="44"/>
                    <a:pt x="0" y="44"/>
                    <a:pt x="0" y="44"/>
                  </a:cubicBezTo>
                  <a:lnTo>
                    <a:pt x="16" y="0"/>
                  </a:lnTo>
                  <a:close/>
                  <a:moveTo>
                    <a:pt x="28" y="28"/>
                  </a:moveTo>
                  <a:cubicBezTo>
                    <a:pt x="24" y="16"/>
                    <a:pt x="24" y="16"/>
                    <a:pt x="24" y="16"/>
                  </a:cubicBezTo>
                  <a:cubicBezTo>
                    <a:pt x="23" y="14"/>
                    <a:pt x="22" y="11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11"/>
                    <a:pt x="20" y="14"/>
                    <a:pt x="19" y="16"/>
                  </a:cubicBezTo>
                  <a:cubicBezTo>
                    <a:pt x="15" y="28"/>
                    <a:pt x="15" y="28"/>
                    <a:pt x="15" y="28"/>
                  </a:cubicBezTo>
                  <a:lnTo>
                    <a:pt x="28" y="28"/>
                  </a:ln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91" name="Freeform 79">
              <a:extLst>
                <a:ext uri="{FF2B5EF4-FFF2-40B4-BE49-F238E27FC236}">
                  <a16:creationId xmlns:a16="http://schemas.microsoft.com/office/drawing/2014/main" id="{AB35D428-D392-455F-B23A-75D33582F80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87111" y="3060602"/>
              <a:ext cx="388046" cy="515757"/>
            </a:xfrm>
            <a:custGeom>
              <a:avLst/>
              <a:gdLst>
                <a:gd name="T0" fmla="*/ 0 w 33"/>
                <a:gd name="T1" fmla="*/ 0 h 44"/>
                <a:gd name="T2" fmla="*/ 17 w 33"/>
                <a:gd name="T3" fmla="*/ 0 h 44"/>
                <a:gd name="T4" fmla="*/ 32 w 33"/>
                <a:gd name="T5" fmla="*/ 12 h 44"/>
                <a:gd name="T6" fmla="*/ 25 w 33"/>
                <a:gd name="T7" fmla="*/ 21 h 44"/>
                <a:gd name="T8" fmla="*/ 25 w 33"/>
                <a:gd name="T9" fmla="*/ 21 h 44"/>
                <a:gd name="T10" fmla="*/ 33 w 33"/>
                <a:gd name="T11" fmla="*/ 32 h 44"/>
                <a:gd name="T12" fmla="*/ 17 w 33"/>
                <a:gd name="T13" fmla="*/ 44 h 44"/>
                <a:gd name="T14" fmla="*/ 0 w 33"/>
                <a:gd name="T15" fmla="*/ 44 h 44"/>
                <a:gd name="T16" fmla="*/ 0 w 33"/>
                <a:gd name="T17" fmla="*/ 0 h 44"/>
                <a:gd name="T18" fmla="*/ 15 w 33"/>
                <a:gd name="T19" fmla="*/ 18 h 44"/>
                <a:gd name="T20" fmla="*/ 22 w 33"/>
                <a:gd name="T21" fmla="*/ 13 h 44"/>
                <a:gd name="T22" fmla="*/ 16 w 33"/>
                <a:gd name="T23" fmla="*/ 8 h 44"/>
                <a:gd name="T24" fmla="*/ 10 w 33"/>
                <a:gd name="T25" fmla="*/ 8 h 44"/>
                <a:gd name="T26" fmla="*/ 10 w 33"/>
                <a:gd name="T27" fmla="*/ 18 h 44"/>
                <a:gd name="T28" fmla="*/ 15 w 33"/>
                <a:gd name="T29" fmla="*/ 18 h 44"/>
                <a:gd name="T30" fmla="*/ 16 w 33"/>
                <a:gd name="T31" fmla="*/ 37 h 44"/>
                <a:gd name="T32" fmla="*/ 22 w 33"/>
                <a:gd name="T33" fmla="*/ 31 h 44"/>
                <a:gd name="T34" fmla="*/ 16 w 33"/>
                <a:gd name="T35" fmla="*/ 25 h 44"/>
                <a:gd name="T36" fmla="*/ 10 w 33"/>
                <a:gd name="T37" fmla="*/ 25 h 44"/>
                <a:gd name="T38" fmla="*/ 10 w 33"/>
                <a:gd name="T39" fmla="*/ 37 h 44"/>
                <a:gd name="T40" fmla="*/ 16 w 33"/>
                <a:gd name="T41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" h="44">
                  <a:moveTo>
                    <a:pt x="0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26" y="0"/>
                    <a:pt x="32" y="5"/>
                    <a:pt x="32" y="12"/>
                  </a:cubicBezTo>
                  <a:cubicBezTo>
                    <a:pt x="32" y="17"/>
                    <a:pt x="28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9" y="23"/>
                    <a:pt x="33" y="26"/>
                    <a:pt x="33" y="32"/>
                  </a:cubicBezTo>
                  <a:cubicBezTo>
                    <a:pt x="33" y="40"/>
                    <a:pt x="27" y="44"/>
                    <a:pt x="17" y="44"/>
                  </a:cubicBezTo>
                  <a:cubicBezTo>
                    <a:pt x="0" y="44"/>
                    <a:pt x="0" y="44"/>
                    <a:pt x="0" y="44"/>
                  </a:cubicBezTo>
                  <a:lnTo>
                    <a:pt x="0" y="0"/>
                  </a:lnTo>
                  <a:close/>
                  <a:moveTo>
                    <a:pt x="15" y="18"/>
                  </a:moveTo>
                  <a:cubicBezTo>
                    <a:pt x="20" y="18"/>
                    <a:pt x="22" y="16"/>
                    <a:pt x="22" y="13"/>
                  </a:cubicBezTo>
                  <a:cubicBezTo>
                    <a:pt x="22" y="10"/>
                    <a:pt x="20" y="8"/>
                    <a:pt x="16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18"/>
                    <a:pt x="10" y="18"/>
                    <a:pt x="10" y="18"/>
                  </a:cubicBezTo>
                  <a:lnTo>
                    <a:pt x="15" y="18"/>
                  </a:lnTo>
                  <a:close/>
                  <a:moveTo>
                    <a:pt x="16" y="37"/>
                  </a:moveTo>
                  <a:cubicBezTo>
                    <a:pt x="20" y="37"/>
                    <a:pt x="22" y="35"/>
                    <a:pt x="22" y="31"/>
                  </a:cubicBezTo>
                  <a:cubicBezTo>
                    <a:pt x="22" y="27"/>
                    <a:pt x="20" y="25"/>
                    <a:pt x="16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37"/>
                    <a:pt x="10" y="37"/>
                    <a:pt x="10" y="37"/>
                  </a:cubicBezTo>
                  <a:lnTo>
                    <a:pt x="16" y="37"/>
                  </a:ln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92" name="Freeform 80">
              <a:extLst>
                <a:ext uri="{FF2B5EF4-FFF2-40B4-BE49-F238E27FC236}">
                  <a16:creationId xmlns:a16="http://schemas.microsoft.com/office/drawing/2014/main" id="{D4F68989-07CB-4DFA-861F-9E66D09B25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749" y="3060602"/>
              <a:ext cx="338926" cy="525581"/>
            </a:xfrm>
            <a:custGeom>
              <a:avLst/>
              <a:gdLst>
                <a:gd name="T0" fmla="*/ 0 w 29"/>
                <a:gd name="T1" fmla="*/ 43 h 45"/>
                <a:gd name="T2" fmla="*/ 0 w 29"/>
                <a:gd name="T3" fmla="*/ 34 h 45"/>
                <a:gd name="T4" fmla="*/ 11 w 29"/>
                <a:gd name="T5" fmla="*/ 37 h 45"/>
                <a:gd name="T6" fmla="*/ 19 w 29"/>
                <a:gd name="T7" fmla="*/ 32 h 45"/>
                <a:gd name="T8" fmla="*/ 9 w 29"/>
                <a:gd name="T9" fmla="*/ 25 h 45"/>
                <a:gd name="T10" fmla="*/ 0 w 29"/>
                <a:gd name="T11" fmla="*/ 12 h 45"/>
                <a:gd name="T12" fmla="*/ 15 w 29"/>
                <a:gd name="T13" fmla="*/ 0 h 45"/>
                <a:gd name="T14" fmla="*/ 26 w 29"/>
                <a:gd name="T15" fmla="*/ 2 h 45"/>
                <a:gd name="T16" fmla="*/ 26 w 29"/>
                <a:gd name="T17" fmla="*/ 10 h 45"/>
                <a:gd name="T18" fmla="*/ 16 w 29"/>
                <a:gd name="T19" fmla="*/ 8 h 45"/>
                <a:gd name="T20" fmla="*/ 9 w 29"/>
                <a:gd name="T21" fmla="*/ 12 h 45"/>
                <a:gd name="T22" fmla="*/ 16 w 29"/>
                <a:gd name="T23" fmla="*/ 18 h 45"/>
                <a:gd name="T24" fmla="*/ 29 w 29"/>
                <a:gd name="T25" fmla="*/ 32 h 45"/>
                <a:gd name="T26" fmla="*/ 13 w 29"/>
                <a:gd name="T27" fmla="*/ 45 h 45"/>
                <a:gd name="T28" fmla="*/ 0 w 29"/>
                <a:gd name="T29" fmla="*/ 4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45">
                  <a:moveTo>
                    <a:pt x="0" y="43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3" y="36"/>
                    <a:pt x="7" y="37"/>
                    <a:pt x="11" y="37"/>
                  </a:cubicBezTo>
                  <a:cubicBezTo>
                    <a:pt x="16" y="37"/>
                    <a:pt x="19" y="35"/>
                    <a:pt x="19" y="32"/>
                  </a:cubicBezTo>
                  <a:cubicBezTo>
                    <a:pt x="19" y="28"/>
                    <a:pt x="15" y="28"/>
                    <a:pt x="9" y="25"/>
                  </a:cubicBezTo>
                  <a:cubicBezTo>
                    <a:pt x="4" y="23"/>
                    <a:pt x="0" y="20"/>
                    <a:pt x="0" y="12"/>
                  </a:cubicBezTo>
                  <a:cubicBezTo>
                    <a:pt x="0" y="4"/>
                    <a:pt x="6" y="0"/>
                    <a:pt x="15" y="0"/>
                  </a:cubicBezTo>
                  <a:cubicBezTo>
                    <a:pt x="20" y="0"/>
                    <a:pt x="24" y="1"/>
                    <a:pt x="26" y="2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4" y="9"/>
                    <a:pt x="20" y="8"/>
                    <a:pt x="16" y="8"/>
                  </a:cubicBezTo>
                  <a:cubicBezTo>
                    <a:pt x="11" y="8"/>
                    <a:pt x="9" y="9"/>
                    <a:pt x="9" y="12"/>
                  </a:cubicBezTo>
                  <a:cubicBezTo>
                    <a:pt x="9" y="15"/>
                    <a:pt x="12" y="16"/>
                    <a:pt x="16" y="18"/>
                  </a:cubicBezTo>
                  <a:cubicBezTo>
                    <a:pt x="22" y="21"/>
                    <a:pt x="29" y="22"/>
                    <a:pt x="29" y="32"/>
                  </a:cubicBezTo>
                  <a:cubicBezTo>
                    <a:pt x="29" y="40"/>
                    <a:pt x="22" y="45"/>
                    <a:pt x="13" y="45"/>
                  </a:cubicBezTo>
                  <a:cubicBezTo>
                    <a:pt x="7" y="45"/>
                    <a:pt x="3" y="44"/>
                    <a:pt x="0" y="43"/>
                  </a:cubicBez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8" name="Tekstvak 7"/>
          <p:cNvSpPr txBox="1"/>
          <p:nvPr userDrawn="1"/>
        </p:nvSpPr>
        <p:spPr>
          <a:xfrm>
            <a:off x="9296400" y="-520700"/>
            <a:ext cx="2895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NL" err="1">
                <a:solidFill>
                  <a:srgbClr val="656565"/>
                </a:solidFill>
              </a:rPr>
              <a:t>Transition</a:t>
            </a:r>
            <a:r>
              <a:rPr lang="nl-NL">
                <a:solidFill>
                  <a:srgbClr val="656565"/>
                </a:solidFill>
              </a:rPr>
              <a:t> </a:t>
            </a:r>
            <a:r>
              <a:rPr lang="nl-NL" err="1">
                <a:solidFill>
                  <a:srgbClr val="656565"/>
                </a:solidFill>
              </a:rPr>
              <a:t>to</a:t>
            </a:r>
            <a:r>
              <a:rPr lang="nl-NL">
                <a:solidFill>
                  <a:srgbClr val="656565"/>
                </a:solidFill>
              </a:rPr>
              <a:t> </a:t>
            </a:r>
            <a:r>
              <a:rPr lang="nl-NL" err="1">
                <a:solidFill>
                  <a:srgbClr val="656565"/>
                </a:solidFill>
              </a:rPr>
              <a:t>title</a:t>
            </a:r>
            <a:r>
              <a:rPr lang="nl-NL">
                <a:solidFill>
                  <a:srgbClr val="656565"/>
                </a:solidFill>
              </a:rPr>
              <a:t> slide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C0AC50A0-5E42-410A-99B0-97D303D0DACF}"/>
              </a:ext>
            </a:extLst>
          </p:cNvPr>
          <p:cNvSpPr/>
          <p:nvPr userDrawn="1"/>
        </p:nvSpPr>
        <p:spPr>
          <a:xfrm>
            <a:off x="-11049" y="0"/>
            <a:ext cx="687822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© Copyright SIDN | 2016</a:t>
            </a:r>
          </a:p>
        </p:txBody>
      </p:sp>
      <p:grpSp>
        <p:nvGrpSpPr>
          <p:cNvPr id="11" name="Groep 10">
            <a:extLst>
              <a:ext uri="{FF2B5EF4-FFF2-40B4-BE49-F238E27FC236}">
                <a16:creationId xmlns:a16="http://schemas.microsoft.com/office/drawing/2014/main" id="{4941F337-CEA1-4E5A-A8DB-010CF45E5A20}"/>
              </a:ext>
            </a:extLst>
          </p:cNvPr>
          <p:cNvGrpSpPr/>
          <p:nvPr userDrawn="1"/>
        </p:nvGrpSpPr>
        <p:grpSpPr>
          <a:xfrm>
            <a:off x="3399325" y="2083119"/>
            <a:ext cx="3467856" cy="2691762"/>
            <a:chOff x="3399325" y="2083119"/>
            <a:chExt cx="3467856" cy="2691762"/>
          </a:xfrm>
        </p:grpSpPr>
        <p:sp>
          <p:nvSpPr>
            <p:cNvPr id="58" name="Freeform 46">
              <a:extLst>
                <a:ext uri="{FF2B5EF4-FFF2-40B4-BE49-F238E27FC236}">
                  <a16:creationId xmlns:a16="http://schemas.microsoft.com/office/drawing/2014/main" id="{8C79972D-37E7-4339-A25B-4E13785CE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2690" y="2097855"/>
              <a:ext cx="653293" cy="1478504"/>
            </a:xfrm>
            <a:custGeom>
              <a:avLst/>
              <a:gdLst>
                <a:gd name="T0" fmla="*/ 56 w 56"/>
                <a:gd name="T1" fmla="*/ 126 h 126"/>
                <a:gd name="T2" fmla="*/ 0 w 56"/>
                <a:gd name="T3" fmla="*/ 0 h 126"/>
                <a:gd name="T4" fmla="*/ 38 w 56"/>
                <a:gd name="T5" fmla="*/ 6 h 126"/>
                <a:gd name="T6" fmla="*/ 56 w 56"/>
                <a:gd name="T7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126">
                  <a:moveTo>
                    <a:pt x="56" y="126"/>
                  </a:moveTo>
                  <a:cubicBezTo>
                    <a:pt x="42" y="83"/>
                    <a:pt x="16" y="30"/>
                    <a:pt x="0" y="0"/>
                  </a:cubicBezTo>
                  <a:cubicBezTo>
                    <a:pt x="15" y="1"/>
                    <a:pt x="26" y="3"/>
                    <a:pt x="38" y="6"/>
                  </a:cubicBezTo>
                  <a:cubicBezTo>
                    <a:pt x="38" y="36"/>
                    <a:pt x="54" y="86"/>
                    <a:pt x="56" y="126"/>
                  </a:cubicBezTo>
                  <a:close/>
                </a:path>
              </a:pathLst>
            </a:custGeom>
            <a:solidFill>
              <a:srgbClr val="15B4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59" name="Freeform 47">
              <a:extLst>
                <a:ext uri="{FF2B5EF4-FFF2-40B4-BE49-F238E27FC236}">
                  <a16:creationId xmlns:a16="http://schemas.microsoft.com/office/drawing/2014/main" id="{8BF93A85-7066-447D-9849-517E72F8DF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99325" y="2927979"/>
              <a:ext cx="653293" cy="987307"/>
            </a:xfrm>
            <a:custGeom>
              <a:avLst/>
              <a:gdLst>
                <a:gd name="T0" fmla="*/ 0 w 56"/>
                <a:gd name="T1" fmla="*/ 80 h 84"/>
                <a:gd name="T2" fmla="*/ 0 w 56"/>
                <a:gd name="T3" fmla="*/ 62 h 84"/>
                <a:gd name="T4" fmla="*/ 22 w 56"/>
                <a:gd name="T5" fmla="*/ 67 h 84"/>
                <a:gd name="T6" fmla="*/ 35 w 56"/>
                <a:gd name="T7" fmla="*/ 60 h 84"/>
                <a:gd name="T8" fmla="*/ 16 w 56"/>
                <a:gd name="T9" fmla="*/ 48 h 84"/>
                <a:gd name="T10" fmla="*/ 0 w 56"/>
                <a:gd name="T11" fmla="*/ 24 h 84"/>
                <a:gd name="T12" fmla="*/ 30 w 56"/>
                <a:gd name="T13" fmla="*/ 0 h 84"/>
                <a:gd name="T14" fmla="*/ 51 w 56"/>
                <a:gd name="T15" fmla="*/ 3 h 84"/>
                <a:gd name="T16" fmla="*/ 51 w 56"/>
                <a:gd name="T17" fmla="*/ 21 h 84"/>
                <a:gd name="T18" fmla="*/ 32 w 56"/>
                <a:gd name="T19" fmla="*/ 16 h 84"/>
                <a:gd name="T20" fmla="*/ 21 w 56"/>
                <a:gd name="T21" fmla="*/ 23 h 84"/>
                <a:gd name="T22" fmla="*/ 33 w 56"/>
                <a:gd name="T23" fmla="*/ 33 h 84"/>
                <a:gd name="T24" fmla="*/ 56 w 56"/>
                <a:gd name="T25" fmla="*/ 59 h 84"/>
                <a:gd name="T26" fmla="*/ 26 w 56"/>
                <a:gd name="T27" fmla="*/ 84 h 84"/>
                <a:gd name="T28" fmla="*/ 0 w 56"/>
                <a:gd name="T29" fmla="*/ 8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6" h="84">
                  <a:moveTo>
                    <a:pt x="0" y="80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6" y="65"/>
                    <a:pt x="14" y="67"/>
                    <a:pt x="22" y="67"/>
                  </a:cubicBezTo>
                  <a:cubicBezTo>
                    <a:pt x="31" y="67"/>
                    <a:pt x="35" y="65"/>
                    <a:pt x="35" y="60"/>
                  </a:cubicBezTo>
                  <a:cubicBezTo>
                    <a:pt x="35" y="53"/>
                    <a:pt x="29" y="53"/>
                    <a:pt x="16" y="48"/>
                  </a:cubicBezTo>
                  <a:cubicBezTo>
                    <a:pt x="8" y="44"/>
                    <a:pt x="0" y="38"/>
                    <a:pt x="0" y="24"/>
                  </a:cubicBezTo>
                  <a:cubicBezTo>
                    <a:pt x="0" y="7"/>
                    <a:pt x="13" y="0"/>
                    <a:pt x="30" y="0"/>
                  </a:cubicBezTo>
                  <a:cubicBezTo>
                    <a:pt x="39" y="0"/>
                    <a:pt x="47" y="2"/>
                    <a:pt x="51" y="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47" y="19"/>
                    <a:pt x="39" y="16"/>
                    <a:pt x="32" y="16"/>
                  </a:cubicBezTo>
                  <a:cubicBezTo>
                    <a:pt x="24" y="16"/>
                    <a:pt x="21" y="19"/>
                    <a:pt x="21" y="23"/>
                  </a:cubicBezTo>
                  <a:cubicBezTo>
                    <a:pt x="21" y="28"/>
                    <a:pt x="25" y="30"/>
                    <a:pt x="33" y="33"/>
                  </a:cubicBezTo>
                  <a:cubicBezTo>
                    <a:pt x="45" y="37"/>
                    <a:pt x="56" y="42"/>
                    <a:pt x="56" y="59"/>
                  </a:cubicBezTo>
                  <a:cubicBezTo>
                    <a:pt x="56" y="76"/>
                    <a:pt x="43" y="84"/>
                    <a:pt x="26" y="84"/>
                  </a:cubicBezTo>
                  <a:cubicBezTo>
                    <a:pt x="15" y="84"/>
                    <a:pt x="7" y="82"/>
                    <a:pt x="0" y="80"/>
                  </a:cubicBez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60" name="Freeform 48">
              <a:extLst>
                <a:ext uri="{FF2B5EF4-FFF2-40B4-BE49-F238E27FC236}">
                  <a16:creationId xmlns:a16="http://schemas.microsoft.com/office/drawing/2014/main" id="{D8FF6EF4-828A-47FA-A686-DAD3F68DA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4009" y="2343454"/>
              <a:ext cx="1478505" cy="1232906"/>
            </a:xfrm>
            <a:custGeom>
              <a:avLst/>
              <a:gdLst>
                <a:gd name="T0" fmla="*/ 127 w 127"/>
                <a:gd name="T1" fmla="*/ 105 h 105"/>
                <a:gd name="T2" fmla="*/ 127 w 127"/>
                <a:gd name="T3" fmla="*/ 68 h 105"/>
                <a:gd name="T4" fmla="*/ 24 w 127"/>
                <a:gd name="T5" fmla="*/ 0 h 105"/>
                <a:gd name="T6" fmla="*/ 0 w 127"/>
                <a:gd name="T7" fmla="*/ 51 h 105"/>
                <a:gd name="T8" fmla="*/ 20 w 127"/>
                <a:gd name="T9" fmla="*/ 51 h 105"/>
                <a:gd name="T10" fmla="*/ 20 w 127"/>
                <a:gd name="T11" fmla="*/ 105 h 105"/>
                <a:gd name="T12" fmla="*/ 40 w 127"/>
                <a:gd name="T13" fmla="*/ 105 h 105"/>
                <a:gd name="T14" fmla="*/ 40 w 127"/>
                <a:gd name="T15" fmla="*/ 51 h 105"/>
                <a:gd name="T16" fmla="*/ 71 w 127"/>
                <a:gd name="T17" fmla="*/ 51 h 105"/>
                <a:gd name="T18" fmla="*/ 112 w 127"/>
                <a:gd name="T19" fmla="*/ 92 h 105"/>
                <a:gd name="T20" fmla="*/ 110 w 127"/>
                <a:gd name="T21" fmla="*/ 105 h 105"/>
                <a:gd name="T22" fmla="*/ 127 w 127"/>
                <a:gd name="T2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7" h="105">
                  <a:moveTo>
                    <a:pt x="127" y="105"/>
                  </a:moveTo>
                  <a:cubicBezTo>
                    <a:pt x="127" y="68"/>
                    <a:pt x="127" y="68"/>
                    <a:pt x="127" y="68"/>
                  </a:cubicBezTo>
                  <a:cubicBezTo>
                    <a:pt x="92" y="45"/>
                    <a:pt x="54" y="21"/>
                    <a:pt x="24" y="0"/>
                  </a:cubicBezTo>
                  <a:cubicBezTo>
                    <a:pt x="12" y="11"/>
                    <a:pt x="3" y="29"/>
                    <a:pt x="0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105"/>
                    <a:pt x="20" y="105"/>
                    <a:pt x="20" y="105"/>
                  </a:cubicBezTo>
                  <a:cubicBezTo>
                    <a:pt x="26" y="105"/>
                    <a:pt x="33" y="105"/>
                    <a:pt x="40" y="105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101" y="51"/>
                    <a:pt x="112" y="71"/>
                    <a:pt x="112" y="92"/>
                  </a:cubicBezTo>
                  <a:cubicBezTo>
                    <a:pt x="112" y="96"/>
                    <a:pt x="111" y="101"/>
                    <a:pt x="110" y="105"/>
                  </a:cubicBezTo>
                  <a:cubicBezTo>
                    <a:pt x="116" y="105"/>
                    <a:pt x="122" y="105"/>
                    <a:pt x="127" y="105"/>
                  </a:cubicBez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61" name="Freeform 49">
              <a:extLst>
                <a:ext uri="{FF2B5EF4-FFF2-40B4-BE49-F238E27FC236}">
                  <a16:creationId xmlns:a16="http://schemas.microsoft.com/office/drawing/2014/main" id="{57CFEE16-3D34-4AEE-AA88-20CB342C5C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4009" y="3576359"/>
              <a:ext cx="1959879" cy="1056075"/>
            </a:xfrm>
            <a:custGeom>
              <a:avLst/>
              <a:gdLst>
                <a:gd name="T0" fmla="*/ 161 w 168"/>
                <a:gd name="T1" fmla="*/ 0 h 90"/>
                <a:gd name="T2" fmla="*/ 145 w 168"/>
                <a:gd name="T3" fmla="*/ 0 h 90"/>
                <a:gd name="T4" fmla="*/ 145 w 168"/>
                <a:gd name="T5" fmla="*/ 28 h 90"/>
                <a:gd name="T6" fmla="*/ 127 w 168"/>
                <a:gd name="T7" fmla="*/ 28 h 90"/>
                <a:gd name="T8" fmla="*/ 127 w 168"/>
                <a:gd name="T9" fmla="*/ 0 h 90"/>
                <a:gd name="T10" fmla="*/ 110 w 168"/>
                <a:gd name="T11" fmla="*/ 0 h 90"/>
                <a:gd name="T12" fmla="*/ 70 w 168"/>
                <a:gd name="T13" fmla="*/ 28 h 90"/>
                <a:gd name="T14" fmla="*/ 40 w 168"/>
                <a:gd name="T15" fmla="*/ 28 h 90"/>
                <a:gd name="T16" fmla="*/ 40 w 168"/>
                <a:gd name="T17" fmla="*/ 0 h 90"/>
                <a:gd name="T18" fmla="*/ 20 w 168"/>
                <a:gd name="T19" fmla="*/ 0 h 90"/>
                <a:gd name="T20" fmla="*/ 20 w 168"/>
                <a:gd name="T21" fmla="*/ 28 h 90"/>
                <a:gd name="T22" fmla="*/ 0 w 168"/>
                <a:gd name="T23" fmla="*/ 28 h 90"/>
                <a:gd name="T24" fmla="*/ 46 w 168"/>
                <a:gd name="T25" fmla="*/ 90 h 90"/>
                <a:gd name="T26" fmla="*/ 168 w 168"/>
                <a:gd name="T27" fmla="*/ 13 h 90"/>
                <a:gd name="T28" fmla="*/ 161 w 168"/>
                <a:gd name="T2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8" h="90">
                  <a:moveTo>
                    <a:pt x="161" y="0"/>
                  </a:moveTo>
                  <a:cubicBezTo>
                    <a:pt x="156" y="0"/>
                    <a:pt x="151" y="0"/>
                    <a:pt x="145" y="0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27" y="28"/>
                    <a:pt x="127" y="28"/>
                    <a:pt x="127" y="28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2" y="0"/>
                    <a:pt x="116" y="0"/>
                    <a:pt x="110" y="0"/>
                  </a:cubicBezTo>
                  <a:cubicBezTo>
                    <a:pt x="106" y="15"/>
                    <a:pt x="94" y="28"/>
                    <a:pt x="7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3" y="0"/>
                    <a:pt x="26" y="0"/>
                    <a:pt x="20" y="0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4" y="59"/>
                    <a:pt x="17" y="81"/>
                    <a:pt x="46" y="90"/>
                  </a:cubicBezTo>
                  <a:cubicBezTo>
                    <a:pt x="84" y="63"/>
                    <a:pt x="132" y="42"/>
                    <a:pt x="168" y="13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E951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62" name="Freeform 50">
              <a:extLst>
                <a:ext uri="{FF2B5EF4-FFF2-40B4-BE49-F238E27FC236}">
                  <a16:creationId xmlns:a16="http://schemas.microsoft.com/office/drawing/2014/main" id="{8BAD53AE-E520-4435-9274-F67EABC032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89414" y="3728630"/>
              <a:ext cx="1449033" cy="997131"/>
            </a:xfrm>
            <a:custGeom>
              <a:avLst/>
              <a:gdLst>
                <a:gd name="T0" fmla="*/ 122 w 124"/>
                <a:gd name="T1" fmla="*/ 0 h 85"/>
                <a:gd name="T2" fmla="*/ 0 w 124"/>
                <a:gd name="T3" fmla="*/ 77 h 85"/>
                <a:gd name="T4" fmla="*/ 34 w 124"/>
                <a:gd name="T5" fmla="*/ 85 h 85"/>
                <a:gd name="T6" fmla="*/ 124 w 124"/>
                <a:gd name="T7" fmla="*/ 3 h 85"/>
                <a:gd name="T8" fmla="*/ 122 w 124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85">
                  <a:moveTo>
                    <a:pt x="122" y="0"/>
                  </a:moveTo>
                  <a:cubicBezTo>
                    <a:pt x="86" y="29"/>
                    <a:pt x="38" y="50"/>
                    <a:pt x="0" y="77"/>
                  </a:cubicBezTo>
                  <a:cubicBezTo>
                    <a:pt x="10" y="81"/>
                    <a:pt x="21" y="83"/>
                    <a:pt x="34" y="85"/>
                  </a:cubicBezTo>
                  <a:cubicBezTo>
                    <a:pt x="62" y="60"/>
                    <a:pt x="98" y="36"/>
                    <a:pt x="124" y="3"/>
                  </a:cubicBezTo>
                  <a:lnTo>
                    <a:pt x="122" y="0"/>
                  </a:lnTo>
                  <a:close/>
                </a:path>
              </a:pathLst>
            </a:custGeom>
            <a:solidFill>
              <a:srgbClr val="E67D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63" name="Freeform 51">
              <a:extLst>
                <a:ext uri="{FF2B5EF4-FFF2-40B4-BE49-F238E27FC236}">
                  <a16:creationId xmlns:a16="http://schemas.microsoft.com/office/drawing/2014/main" id="{0A960E45-254D-489B-883B-5501EBB953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7284" y="3763014"/>
              <a:ext cx="1164138" cy="1011867"/>
            </a:xfrm>
            <a:custGeom>
              <a:avLst/>
              <a:gdLst>
                <a:gd name="T0" fmla="*/ 100 w 100"/>
                <a:gd name="T1" fmla="*/ 12 h 86"/>
                <a:gd name="T2" fmla="*/ 98 w 100"/>
                <a:gd name="T3" fmla="*/ 12 h 86"/>
                <a:gd name="T4" fmla="*/ 90 w 100"/>
                <a:gd name="T5" fmla="*/ 0 h 86"/>
                <a:gd name="T6" fmla="*/ 0 w 100"/>
                <a:gd name="T7" fmla="*/ 82 h 86"/>
                <a:gd name="T8" fmla="*/ 92 w 100"/>
                <a:gd name="T9" fmla="*/ 76 h 86"/>
                <a:gd name="T10" fmla="*/ 100 w 100"/>
                <a:gd name="T11" fmla="*/ 1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86">
                  <a:moveTo>
                    <a:pt x="100" y="12"/>
                  </a:moveTo>
                  <a:cubicBezTo>
                    <a:pt x="98" y="12"/>
                    <a:pt x="98" y="12"/>
                    <a:pt x="98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64" y="33"/>
                    <a:pt x="28" y="57"/>
                    <a:pt x="0" y="82"/>
                  </a:cubicBezTo>
                  <a:cubicBezTo>
                    <a:pt x="33" y="86"/>
                    <a:pt x="66" y="86"/>
                    <a:pt x="92" y="76"/>
                  </a:cubicBezTo>
                  <a:cubicBezTo>
                    <a:pt x="90" y="55"/>
                    <a:pt x="96" y="36"/>
                    <a:pt x="100" y="12"/>
                  </a:cubicBezTo>
                  <a:close/>
                </a:path>
              </a:pathLst>
            </a:custGeom>
            <a:solidFill>
              <a:srgbClr val="6823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64" name="Freeform 52">
              <a:extLst>
                <a:ext uri="{FF2B5EF4-FFF2-40B4-BE49-F238E27FC236}">
                  <a16:creationId xmlns:a16="http://schemas.microsoft.com/office/drawing/2014/main" id="{98BBFA2B-B044-4A4B-8E73-F71A43AC17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38447" y="3905462"/>
              <a:ext cx="392958" cy="751532"/>
            </a:xfrm>
            <a:custGeom>
              <a:avLst/>
              <a:gdLst>
                <a:gd name="T0" fmla="*/ 21 w 34"/>
                <a:gd name="T1" fmla="*/ 0 h 64"/>
                <a:gd name="T2" fmla="*/ 10 w 34"/>
                <a:gd name="T3" fmla="*/ 0 h 64"/>
                <a:gd name="T4" fmla="*/ 2 w 34"/>
                <a:gd name="T5" fmla="*/ 64 h 64"/>
                <a:gd name="T6" fmla="*/ 34 w 34"/>
                <a:gd name="T7" fmla="*/ 41 h 64"/>
                <a:gd name="T8" fmla="*/ 21 w 34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64">
                  <a:moveTo>
                    <a:pt x="21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6" y="24"/>
                    <a:pt x="0" y="43"/>
                    <a:pt x="2" y="64"/>
                  </a:cubicBezTo>
                  <a:cubicBezTo>
                    <a:pt x="17" y="59"/>
                    <a:pt x="26" y="53"/>
                    <a:pt x="34" y="41"/>
                  </a:cubicBezTo>
                  <a:cubicBezTo>
                    <a:pt x="26" y="26"/>
                    <a:pt x="24" y="13"/>
                    <a:pt x="21" y="0"/>
                  </a:cubicBezTo>
                  <a:close/>
                </a:path>
              </a:pathLst>
            </a:custGeom>
            <a:solidFill>
              <a:srgbClr val="2BA9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65" name="Freeform 53">
              <a:extLst>
                <a:ext uri="{FF2B5EF4-FFF2-40B4-BE49-F238E27FC236}">
                  <a16:creationId xmlns:a16="http://schemas.microsoft.com/office/drawing/2014/main" id="{B5FEEC88-1AC7-4347-B549-D59EA23367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9134" y="3871078"/>
              <a:ext cx="284895" cy="515757"/>
            </a:xfrm>
            <a:custGeom>
              <a:avLst/>
              <a:gdLst>
                <a:gd name="T0" fmla="*/ 9 w 24"/>
                <a:gd name="T1" fmla="*/ 0 h 44"/>
                <a:gd name="T2" fmla="*/ 9 w 24"/>
                <a:gd name="T3" fmla="*/ 3 h 44"/>
                <a:gd name="T4" fmla="*/ 0 w 24"/>
                <a:gd name="T5" fmla="*/ 3 h 44"/>
                <a:gd name="T6" fmla="*/ 13 w 24"/>
                <a:gd name="T7" fmla="*/ 44 h 44"/>
                <a:gd name="T8" fmla="*/ 24 w 24"/>
                <a:gd name="T9" fmla="*/ 22 h 44"/>
                <a:gd name="T10" fmla="*/ 9 w 24"/>
                <a:gd name="T1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44">
                  <a:moveTo>
                    <a:pt x="9" y="0"/>
                  </a:moveTo>
                  <a:cubicBezTo>
                    <a:pt x="9" y="3"/>
                    <a:pt x="9" y="3"/>
                    <a:pt x="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16"/>
                    <a:pt x="5" y="29"/>
                    <a:pt x="13" y="44"/>
                  </a:cubicBezTo>
                  <a:cubicBezTo>
                    <a:pt x="17" y="38"/>
                    <a:pt x="21" y="30"/>
                    <a:pt x="24" y="22"/>
                  </a:cubicBezTo>
                  <a:cubicBezTo>
                    <a:pt x="17" y="13"/>
                    <a:pt x="13" y="6"/>
                    <a:pt x="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66" name="Freeform 54">
              <a:extLst>
                <a:ext uri="{FF2B5EF4-FFF2-40B4-BE49-F238E27FC236}">
                  <a16:creationId xmlns:a16="http://schemas.microsoft.com/office/drawing/2014/main" id="{DFCF58CE-CA3E-4E72-95AD-3521B7E5A2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87198" y="3212873"/>
              <a:ext cx="279983" cy="913627"/>
            </a:xfrm>
            <a:custGeom>
              <a:avLst/>
              <a:gdLst>
                <a:gd name="T0" fmla="*/ 23 w 24"/>
                <a:gd name="T1" fmla="*/ 0 h 78"/>
                <a:gd name="T2" fmla="*/ 0 w 24"/>
                <a:gd name="T3" fmla="*/ 21 h 78"/>
                <a:gd name="T4" fmla="*/ 0 w 24"/>
                <a:gd name="T5" fmla="*/ 56 h 78"/>
                <a:gd name="T6" fmla="*/ 15 w 24"/>
                <a:gd name="T7" fmla="*/ 78 h 78"/>
                <a:gd name="T8" fmla="*/ 23 w 24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78">
                  <a:moveTo>
                    <a:pt x="23" y="0"/>
                  </a:moveTo>
                  <a:cubicBezTo>
                    <a:pt x="13" y="5"/>
                    <a:pt x="8" y="13"/>
                    <a:pt x="0" y="21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4" y="62"/>
                    <a:pt x="8" y="69"/>
                    <a:pt x="15" y="78"/>
                  </a:cubicBezTo>
                  <a:cubicBezTo>
                    <a:pt x="22" y="55"/>
                    <a:pt x="24" y="29"/>
                    <a:pt x="23" y="0"/>
                  </a:cubicBezTo>
                  <a:close/>
                </a:path>
              </a:pathLst>
            </a:custGeom>
            <a:solidFill>
              <a:srgbClr val="0790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67" name="Freeform 55">
              <a:extLst>
                <a:ext uri="{FF2B5EF4-FFF2-40B4-BE49-F238E27FC236}">
                  <a16:creationId xmlns:a16="http://schemas.microsoft.com/office/drawing/2014/main" id="{B19CF5E5-7704-409E-B57C-494282BB42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87198" y="3080250"/>
              <a:ext cx="270159" cy="378222"/>
            </a:xfrm>
            <a:custGeom>
              <a:avLst/>
              <a:gdLst>
                <a:gd name="T0" fmla="*/ 22 w 23"/>
                <a:gd name="T1" fmla="*/ 0 h 32"/>
                <a:gd name="T2" fmla="*/ 0 w 23"/>
                <a:gd name="T3" fmla="*/ 27 h 32"/>
                <a:gd name="T4" fmla="*/ 0 w 23"/>
                <a:gd name="T5" fmla="*/ 32 h 32"/>
                <a:gd name="T6" fmla="*/ 23 w 23"/>
                <a:gd name="T7" fmla="*/ 11 h 32"/>
                <a:gd name="T8" fmla="*/ 22 w 23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2">
                  <a:moveTo>
                    <a:pt x="22" y="0"/>
                  </a:moveTo>
                  <a:cubicBezTo>
                    <a:pt x="13" y="7"/>
                    <a:pt x="7" y="17"/>
                    <a:pt x="0" y="2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8" y="24"/>
                    <a:pt x="13" y="16"/>
                    <a:pt x="23" y="11"/>
                  </a:cubicBezTo>
                  <a:cubicBezTo>
                    <a:pt x="23" y="7"/>
                    <a:pt x="23" y="4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68" name="Freeform 56">
              <a:extLst>
                <a:ext uri="{FF2B5EF4-FFF2-40B4-BE49-F238E27FC236}">
                  <a16:creationId xmlns:a16="http://schemas.microsoft.com/office/drawing/2014/main" id="{1E2C7C78-7E8F-4336-8A6E-3A96171F86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87198" y="2849387"/>
              <a:ext cx="255423" cy="550141"/>
            </a:xfrm>
            <a:custGeom>
              <a:avLst/>
              <a:gdLst>
                <a:gd name="T0" fmla="*/ 19 w 22"/>
                <a:gd name="T1" fmla="*/ 0 h 47"/>
                <a:gd name="T2" fmla="*/ 0 w 22"/>
                <a:gd name="T3" fmla="*/ 35 h 47"/>
                <a:gd name="T4" fmla="*/ 0 w 22"/>
                <a:gd name="T5" fmla="*/ 47 h 47"/>
                <a:gd name="T6" fmla="*/ 22 w 22"/>
                <a:gd name="T7" fmla="*/ 20 h 47"/>
                <a:gd name="T8" fmla="*/ 19 w 22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7">
                  <a:moveTo>
                    <a:pt x="19" y="0"/>
                  </a:moveTo>
                  <a:cubicBezTo>
                    <a:pt x="10" y="10"/>
                    <a:pt x="6" y="23"/>
                    <a:pt x="0" y="35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7" y="37"/>
                    <a:pt x="13" y="27"/>
                    <a:pt x="22" y="20"/>
                  </a:cubicBezTo>
                  <a:cubicBezTo>
                    <a:pt x="22" y="13"/>
                    <a:pt x="21" y="6"/>
                    <a:pt x="19" y="0"/>
                  </a:cubicBezTo>
                  <a:close/>
                </a:path>
              </a:pathLst>
            </a:custGeom>
            <a:solidFill>
              <a:srgbClr val="E951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69" name="Freeform 57">
              <a:extLst>
                <a:ext uri="{FF2B5EF4-FFF2-40B4-BE49-F238E27FC236}">
                  <a16:creationId xmlns:a16="http://schemas.microsoft.com/office/drawing/2014/main" id="{3B1509CB-87F7-47FE-9F50-DC5844A6EB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9134" y="2412221"/>
              <a:ext cx="329102" cy="844860"/>
            </a:xfrm>
            <a:custGeom>
              <a:avLst/>
              <a:gdLst>
                <a:gd name="T0" fmla="*/ 9 w 28"/>
                <a:gd name="T1" fmla="*/ 72 h 72"/>
                <a:gd name="T2" fmla="*/ 28 w 28"/>
                <a:gd name="T3" fmla="*/ 37 h 72"/>
                <a:gd name="T4" fmla="*/ 28 w 28"/>
                <a:gd name="T5" fmla="*/ 35 h 72"/>
                <a:gd name="T6" fmla="*/ 11 w 28"/>
                <a:gd name="T7" fmla="*/ 0 h 72"/>
                <a:gd name="T8" fmla="*/ 0 w 28"/>
                <a:gd name="T9" fmla="*/ 45 h 72"/>
                <a:gd name="T10" fmla="*/ 9 w 28"/>
                <a:gd name="T11" fmla="*/ 45 h 72"/>
                <a:gd name="T12" fmla="*/ 9 w 28"/>
                <a:gd name="T13" fmla="*/ 70 h 72"/>
                <a:gd name="T14" fmla="*/ 9 w 28"/>
                <a:gd name="T1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72">
                  <a:moveTo>
                    <a:pt x="9" y="72"/>
                  </a:moveTo>
                  <a:cubicBezTo>
                    <a:pt x="15" y="60"/>
                    <a:pt x="19" y="47"/>
                    <a:pt x="28" y="37"/>
                  </a:cubicBezTo>
                  <a:cubicBezTo>
                    <a:pt x="28" y="36"/>
                    <a:pt x="28" y="36"/>
                    <a:pt x="28" y="35"/>
                  </a:cubicBezTo>
                  <a:cubicBezTo>
                    <a:pt x="24" y="20"/>
                    <a:pt x="19" y="9"/>
                    <a:pt x="11" y="0"/>
                  </a:cubicBezTo>
                  <a:cubicBezTo>
                    <a:pt x="5" y="13"/>
                    <a:pt x="2" y="29"/>
                    <a:pt x="0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70"/>
                    <a:pt x="9" y="70"/>
                    <a:pt x="9" y="70"/>
                  </a:cubicBezTo>
                  <a:lnTo>
                    <a:pt x="9" y="72"/>
                  </a:lnTo>
                  <a:close/>
                </a:path>
              </a:pathLst>
            </a:custGeom>
            <a:solidFill>
              <a:srgbClr val="0C2C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70" name="Freeform 58">
              <a:extLst>
                <a:ext uri="{FF2B5EF4-FFF2-40B4-BE49-F238E27FC236}">
                  <a16:creationId xmlns:a16="http://schemas.microsoft.com/office/drawing/2014/main" id="{E4E7B876-EFC1-446A-B153-60091FFDB8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00543" y="2294334"/>
              <a:ext cx="211215" cy="648381"/>
            </a:xfrm>
            <a:custGeom>
              <a:avLst/>
              <a:gdLst>
                <a:gd name="T0" fmla="*/ 7 w 18"/>
                <a:gd name="T1" fmla="*/ 55 h 55"/>
                <a:gd name="T2" fmla="*/ 18 w 18"/>
                <a:gd name="T3" fmla="*/ 10 h 55"/>
                <a:gd name="T4" fmla="*/ 6 w 18"/>
                <a:gd name="T5" fmla="*/ 0 h 55"/>
                <a:gd name="T6" fmla="*/ 0 w 18"/>
                <a:gd name="T7" fmla="*/ 55 h 55"/>
                <a:gd name="T8" fmla="*/ 7 w 18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55">
                  <a:moveTo>
                    <a:pt x="7" y="55"/>
                  </a:moveTo>
                  <a:cubicBezTo>
                    <a:pt x="9" y="39"/>
                    <a:pt x="12" y="23"/>
                    <a:pt x="18" y="10"/>
                  </a:cubicBezTo>
                  <a:cubicBezTo>
                    <a:pt x="14" y="6"/>
                    <a:pt x="10" y="3"/>
                    <a:pt x="6" y="0"/>
                  </a:cubicBezTo>
                  <a:cubicBezTo>
                    <a:pt x="1" y="15"/>
                    <a:pt x="0" y="35"/>
                    <a:pt x="0" y="55"/>
                  </a:cubicBezTo>
                  <a:lnTo>
                    <a:pt x="7" y="55"/>
                  </a:lnTo>
                  <a:close/>
                </a:path>
              </a:pathLst>
            </a:custGeom>
            <a:solidFill>
              <a:srgbClr val="4DB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71" name="Freeform 59">
              <a:extLst>
                <a:ext uri="{FF2B5EF4-FFF2-40B4-BE49-F238E27FC236}">
                  <a16:creationId xmlns:a16="http://schemas.microsoft.com/office/drawing/2014/main" id="{526AB4E5-9077-4605-B85C-137A9C3A88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66159" y="2259950"/>
              <a:ext cx="58944" cy="682764"/>
            </a:xfrm>
            <a:custGeom>
              <a:avLst/>
              <a:gdLst>
                <a:gd name="T0" fmla="*/ 2 w 5"/>
                <a:gd name="T1" fmla="*/ 58 h 58"/>
                <a:gd name="T2" fmla="*/ 5 w 5"/>
                <a:gd name="T3" fmla="*/ 1 h 58"/>
                <a:gd name="T4" fmla="*/ 4 w 5"/>
                <a:gd name="T5" fmla="*/ 0 h 58"/>
                <a:gd name="T6" fmla="*/ 1 w 5"/>
                <a:gd name="T7" fmla="*/ 58 h 58"/>
                <a:gd name="T8" fmla="*/ 2 w 5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8">
                  <a:moveTo>
                    <a:pt x="2" y="58"/>
                  </a:moveTo>
                  <a:cubicBezTo>
                    <a:pt x="1" y="37"/>
                    <a:pt x="1" y="16"/>
                    <a:pt x="5" y="1"/>
                  </a:cubicBezTo>
                  <a:cubicBezTo>
                    <a:pt x="4" y="0"/>
                    <a:pt x="5" y="1"/>
                    <a:pt x="4" y="0"/>
                  </a:cubicBezTo>
                  <a:cubicBezTo>
                    <a:pt x="0" y="16"/>
                    <a:pt x="0" y="36"/>
                    <a:pt x="1" y="58"/>
                  </a:cubicBezTo>
                  <a:lnTo>
                    <a:pt x="2" y="58"/>
                  </a:lnTo>
                  <a:close/>
                </a:path>
              </a:pathLst>
            </a:custGeom>
            <a:solidFill>
              <a:srgbClr val="0C2C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72" name="Freeform 60">
              <a:extLst>
                <a:ext uri="{FF2B5EF4-FFF2-40B4-BE49-F238E27FC236}">
                  <a16:creationId xmlns:a16="http://schemas.microsoft.com/office/drawing/2014/main" id="{6F5E542E-2857-4BD4-B165-9478C250AB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82655" y="2225566"/>
              <a:ext cx="127711" cy="1080634"/>
            </a:xfrm>
            <a:custGeom>
              <a:avLst/>
              <a:gdLst>
                <a:gd name="T0" fmla="*/ 8 w 11"/>
                <a:gd name="T1" fmla="*/ 61 h 92"/>
                <a:gd name="T2" fmla="*/ 8 w 11"/>
                <a:gd name="T3" fmla="*/ 61 h 92"/>
                <a:gd name="T4" fmla="*/ 11 w 11"/>
                <a:gd name="T5" fmla="*/ 3 h 92"/>
                <a:gd name="T6" fmla="*/ 4 w 11"/>
                <a:gd name="T7" fmla="*/ 0 h 92"/>
                <a:gd name="T8" fmla="*/ 8 w 11"/>
                <a:gd name="T9" fmla="*/ 92 h 92"/>
                <a:gd name="T10" fmla="*/ 8 w 11"/>
                <a:gd name="T11" fmla="*/ 6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92">
                  <a:moveTo>
                    <a:pt x="8" y="61"/>
                  </a:moveTo>
                  <a:cubicBezTo>
                    <a:pt x="8" y="61"/>
                    <a:pt x="8" y="61"/>
                    <a:pt x="8" y="61"/>
                  </a:cubicBezTo>
                  <a:cubicBezTo>
                    <a:pt x="7" y="39"/>
                    <a:pt x="7" y="19"/>
                    <a:pt x="11" y="3"/>
                  </a:cubicBezTo>
                  <a:cubicBezTo>
                    <a:pt x="9" y="2"/>
                    <a:pt x="6" y="1"/>
                    <a:pt x="4" y="0"/>
                  </a:cubicBezTo>
                  <a:cubicBezTo>
                    <a:pt x="0" y="23"/>
                    <a:pt x="6" y="59"/>
                    <a:pt x="8" y="92"/>
                  </a:cubicBezTo>
                  <a:lnTo>
                    <a:pt x="8" y="61"/>
                  </a:lnTo>
                  <a:close/>
                </a:path>
              </a:pathLst>
            </a:custGeom>
            <a:solidFill>
              <a:srgbClr val="4DB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73" name="Freeform 61">
              <a:extLst>
                <a:ext uri="{FF2B5EF4-FFF2-40B4-BE49-F238E27FC236}">
                  <a16:creationId xmlns:a16="http://schemas.microsoft.com/office/drawing/2014/main" id="{5E97458E-E6E7-4604-89D9-18890D8002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4768" y="2166623"/>
              <a:ext cx="211215" cy="1409737"/>
            </a:xfrm>
            <a:custGeom>
              <a:avLst/>
              <a:gdLst>
                <a:gd name="T0" fmla="*/ 18 w 18"/>
                <a:gd name="T1" fmla="*/ 108 h 120"/>
                <a:gd name="T2" fmla="*/ 18 w 18"/>
                <a:gd name="T3" fmla="*/ 97 h 120"/>
                <a:gd name="T4" fmla="*/ 14 w 18"/>
                <a:gd name="T5" fmla="*/ 5 h 120"/>
                <a:gd name="T6" fmla="*/ 0 w 18"/>
                <a:gd name="T7" fmla="*/ 0 h 120"/>
                <a:gd name="T8" fmla="*/ 18 w 18"/>
                <a:gd name="T9" fmla="*/ 120 h 120"/>
                <a:gd name="T10" fmla="*/ 18 w 18"/>
                <a:gd name="T11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0">
                  <a:moveTo>
                    <a:pt x="18" y="108"/>
                  </a:moveTo>
                  <a:cubicBezTo>
                    <a:pt x="18" y="97"/>
                    <a:pt x="18" y="97"/>
                    <a:pt x="18" y="97"/>
                  </a:cubicBezTo>
                  <a:cubicBezTo>
                    <a:pt x="16" y="64"/>
                    <a:pt x="10" y="28"/>
                    <a:pt x="14" y="5"/>
                  </a:cubicBezTo>
                  <a:cubicBezTo>
                    <a:pt x="9" y="3"/>
                    <a:pt x="5" y="2"/>
                    <a:pt x="0" y="0"/>
                  </a:cubicBezTo>
                  <a:cubicBezTo>
                    <a:pt x="0" y="30"/>
                    <a:pt x="16" y="80"/>
                    <a:pt x="18" y="120"/>
                  </a:cubicBezTo>
                  <a:cubicBezTo>
                    <a:pt x="18" y="117"/>
                    <a:pt x="18" y="111"/>
                    <a:pt x="18" y="108"/>
                  </a:cubicBez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74" name="Freeform 62">
              <a:extLst>
                <a:ext uri="{FF2B5EF4-FFF2-40B4-BE49-F238E27FC236}">
                  <a16:creationId xmlns:a16="http://schemas.microsoft.com/office/drawing/2014/main" id="{A2E99F9D-07BD-491A-89D3-AE0A941FE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83763" y="2083119"/>
              <a:ext cx="992219" cy="1493240"/>
            </a:xfrm>
            <a:custGeom>
              <a:avLst/>
              <a:gdLst>
                <a:gd name="T0" fmla="*/ 85 w 85"/>
                <a:gd name="T1" fmla="*/ 127 h 127"/>
                <a:gd name="T2" fmla="*/ 29 w 85"/>
                <a:gd name="T3" fmla="*/ 1 h 127"/>
                <a:gd name="T4" fmla="*/ 0 w 85"/>
                <a:gd name="T5" fmla="*/ 1 h 127"/>
                <a:gd name="T6" fmla="*/ 81 w 85"/>
                <a:gd name="T7" fmla="*/ 121 h 127"/>
                <a:gd name="T8" fmla="*/ 85 w 85"/>
                <a:gd name="T9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27">
                  <a:moveTo>
                    <a:pt x="85" y="127"/>
                  </a:moveTo>
                  <a:cubicBezTo>
                    <a:pt x="71" y="84"/>
                    <a:pt x="45" y="31"/>
                    <a:pt x="29" y="1"/>
                  </a:cubicBezTo>
                  <a:cubicBezTo>
                    <a:pt x="19" y="1"/>
                    <a:pt x="10" y="0"/>
                    <a:pt x="0" y="1"/>
                  </a:cubicBezTo>
                  <a:cubicBezTo>
                    <a:pt x="26" y="30"/>
                    <a:pt x="60" y="78"/>
                    <a:pt x="81" y="121"/>
                  </a:cubicBezTo>
                  <a:cubicBezTo>
                    <a:pt x="83" y="123"/>
                    <a:pt x="84" y="126"/>
                    <a:pt x="85" y="127"/>
                  </a:cubicBezTo>
                  <a:close/>
                </a:path>
              </a:pathLst>
            </a:custGeom>
            <a:solidFill>
              <a:srgbClr val="E67D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75" name="Freeform 63">
              <a:extLst>
                <a:ext uri="{FF2B5EF4-FFF2-40B4-BE49-F238E27FC236}">
                  <a16:creationId xmlns:a16="http://schemas.microsoft.com/office/drawing/2014/main" id="{E3FC0955-C36B-483E-BA25-21B21452CA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39556" y="2097855"/>
              <a:ext cx="992219" cy="1409737"/>
            </a:xfrm>
            <a:custGeom>
              <a:avLst/>
              <a:gdLst>
                <a:gd name="T0" fmla="*/ 4 w 85"/>
                <a:gd name="T1" fmla="*/ 0 h 120"/>
                <a:gd name="T2" fmla="*/ 0 w 85"/>
                <a:gd name="T3" fmla="*/ 0 h 120"/>
                <a:gd name="T4" fmla="*/ 56 w 85"/>
                <a:gd name="T5" fmla="*/ 72 h 120"/>
                <a:gd name="T6" fmla="*/ 56 w 85"/>
                <a:gd name="T7" fmla="*/ 72 h 120"/>
                <a:gd name="T8" fmla="*/ 61 w 85"/>
                <a:gd name="T9" fmla="*/ 81 h 120"/>
                <a:gd name="T10" fmla="*/ 61 w 85"/>
                <a:gd name="T11" fmla="*/ 81 h 120"/>
                <a:gd name="T12" fmla="*/ 79 w 85"/>
                <a:gd name="T13" fmla="*/ 109 h 120"/>
                <a:gd name="T14" fmla="*/ 79 w 85"/>
                <a:gd name="T15" fmla="*/ 109 h 120"/>
                <a:gd name="T16" fmla="*/ 82 w 85"/>
                <a:gd name="T17" fmla="*/ 113 h 120"/>
                <a:gd name="T18" fmla="*/ 85 w 85"/>
                <a:gd name="T19" fmla="*/ 120 h 120"/>
                <a:gd name="T20" fmla="*/ 4 w 85"/>
                <a:gd name="T2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120">
                  <a:moveTo>
                    <a:pt x="4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17" y="19"/>
                    <a:pt x="37" y="45"/>
                    <a:pt x="56" y="72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79" y="109"/>
                    <a:pt x="79" y="109"/>
                    <a:pt x="79" y="109"/>
                  </a:cubicBezTo>
                  <a:cubicBezTo>
                    <a:pt x="79" y="109"/>
                    <a:pt x="79" y="109"/>
                    <a:pt x="79" y="109"/>
                  </a:cubicBezTo>
                  <a:cubicBezTo>
                    <a:pt x="82" y="113"/>
                    <a:pt x="82" y="113"/>
                    <a:pt x="82" y="113"/>
                  </a:cubicBezTo>
                  <a:cubicBezTo>
                    <a:pt x="83" y="115"/>
                    <a:pt x="84" y="117"/>
                    <a:pt x="85" y="120"/>
                  </a:cubicBezTo>
                  <a:cubicBezTo>
                    <a:pt x="64" y="77"/>
                    <a:pt x="30" y="29"/>
                    <a:pt x="4" y="0"/>
                  </a:cubicBezTo>
                  <a:close/>
                </a:path>
              </a:pathLst>
            </a:custGeom>
            <a:solidFill>
              <a:srgbClr val="6823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76" name="Freeform 64">
              <a:extLst>
                <a:ext uri="{FF2B5EF4-FFF2-40B4-BE49-F238E27FC236}">
                  <a16:creationId xmlns:a16="http://schemas.microsoft.com/office/drawing/2014/main" id="{D8E14D16-11AF-4C08-B47C-AC8E614E41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052" y="2097855"/>
              <a:ext cx="736796" cy="844860"/>
            </a:xfrm>
            <a:custGeom>
              <a:avLst/>
              <a:gdLst>
                <a:gd name="T0" fmla="*/ 63 w 63"/>
                <a:gd name="T1" fmla="*/ 72 h 72"/>
                <a:gd name="T2" fmla="*/ 7 w 63"/>
                <a:gd name="T3" fmla="*/ 0 h 72"/>
                <a:gd name="T4" fmla="*/ 0 w 63"/>
                <a:gd name="T5" fmla="*/ 0 h 72"/>
                <a:gd name="T6" fmla="*/ 60 w 63"/>
                <a:gd name="T7" fmla="*/ 72 h 72"/>
                <a:gd name="T8" fmla="*/ 63 w 63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72">
                  <a:moveTo>
                    <a:pt x="63" y="72"/>
                  </a:moveTo>
                  <a:cubicBezTo>
                    <a:pt x="44" y="45"/>
                    <a:pt x="24" y="19"/>
                    <a:pt x="7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8" y="19"/>
                    <a:pt x="40" y="45"/>
                    <a:pt x="60" y="72"/>
                  </a:cubicBezTo>
                  <a:lnTo>
                    <a:pt x="63" y="72"/>
                  </a:lnTo>
                  <a:close/>
                </a:path>
              </a:pathLst>
            </a:custGeom>
            <a:solidFill>
              <a:srgbClr val="2BA9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77" name="Freeform 65">
              <a:extLst>
                <a:ext uri="{FF2B5EF4-FFF2-40B4-BE49-F238E27FC236}">
                  <a16:creationId xmlns:a16="http://schemas.microsoft.com/office/drawing/2014/main" id="{60F56555-EC9F-4B7E-9A6F-980F43E15A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69397" y="2097855"/>
              <a:ext cx="889068" cy="844860"/>
            </a:xfrm>
            <a:custGeom>
              <a:avLst/>
              <a:gdLst>
                <a:gd name="T0" fmla="*/ 76 w 76"/>
                <a:gd name="T1" fmla="*/ 72 h 72"/>
                <a:gd name="T2" fmla="*/ 16 w 76"/>
                <a:gd name="T3" fmla="*/ 0 h 72"/>
                <a:gd name="T4" fmla="*/ 0 w 76"/>
                <a:gd name="T5" fmla="*/ 2 h 72"/>
                <a:gd name="T6" fmla="*/ 68 w 76"/>
                <a:gd name="T7" fmla="*/ 72 h 72"/>
                <a:gd name="T8" fmla="*/ 76 w 76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72">
                  <a:moveTo>
                    <a:pt x="76" y="72"/>
                  </a:moveTo>
                  <a:cubicBezTo>
                    <a:pt x="56" y="45"/>
                    <a:pt x="34" y="19"/>
                    <a:pt x="16" y="0"/>
                  </a:cubicBezTo>
                  <a:cubicBezTo>
                    <a:pt x="10" y="1"/>
                    <a:pt x="5" y="1"/>
                    <a:pt x="0" y="2"/>
                  </a:cubicBezTo>
                  <a:cubicBezTo>
                    <a:pt x="21" y="21"/>
                    <a:pt x="46" y="46"/>
                    <a:pt x="68" y="72"/>
                  </a:cubicBezTo>
                  <a:lnTo>
                    <a:pt x="76" y="72"/>
                  </a:lnTo>
                  <a:close/>
                </a:path>
              </a:pathLst>
            </a:custGeom>
            <a:solidFill>
              <a:srgbClr val="0790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78" name="Freeform 66">
              <a:extLst>
                <a:ext uri="{FF2B5EF4-FFF2-40B4-BE49-F238E27FC236}">
                  <a16:creationId xmlns:a16="http://schemas.microsoft.com/office/drawing/2014/main" id="{C3AEFCD4-F7EA-4AA4-8F22-D3BD764334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89414" y="2117503"/>
              <a:ext cx="1075723" cy="859596"/>
            </a:xfrm>
            <a:custGeom>
              <a:avLst/>
              <a:gdLst>
                <a:gd name="T0" fmla="*/ 81 w 92"/>
                <a:gd name="T1" fmla="*/ 70 h 73"/>
                <a:gd name="T2" fmla="*/ 92 w 92"/>
                <a:gd name="T3" fmla="*/ 70 h 73"/>
                <a:gd name="T4" fmla="*/ 24 w 92"/>
                <a:gd name="T5" fmla="*/ 0 h 73"/>
                <a:gd name="T6" fmla="*/ 0 w 92"/>
                <a:gd name="T7" fmla="*/ 6 h 73"/>
                <a:gd name="T8" fmla="*/ 81 w 92"/>
                <a:gd name="T9" fmla="*/ 73 h 73"/>
                <a:gd name="T10" fmla="*/ 81 w 92"/>
                <a:gd name="T11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73">
                  <a:moveTo>
                    <a:pt x="81" y="70"/>
                  </a:moveTo>
                  <a:cubicBezTo>
                    <a:pt x="92" y="70"/>
                    <a:pt x="92" y="70"/>
                    <a:pt x="92" y="70"/>
                  </a:cubicBezTo>
                  <a:cubicBezTo>
                    <a:pt x="70" y="44"/>
                    <a:pt x="45" y="19"/>
                    <a:pt x="24" y="0"/>
                  </a:cubicBezTo>
                  <a:cubicBezTo>
                    <a:pt x="15" y="1"/>
                    <a:pt x="7" y="3"/>
                    <a:pt x="0" y="6"/>
                  </a:cubicBezTo>
                  <a:cubicBezTo>
                    <a:pt x="25" y="26"/>
                    <a:pt x="54" y="49"/>
                    <a:pt x="81" y="73"/>
                  </a:cubicBezTo>
                  <a:lnTo>
                    <a:pt x="81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79" name="Freeform 67">
              <a:extLst>
                <a:ext uri="{FF2B5EF4-FFF2-40B4-BE49-F238E27FC236}">
                  <a16:creationId xmlns:a16="http://schemas.microsoft.com/office/drawing/2014/main" id="{24FC45C1-C37B-4816-A4FD-7716166447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12583" y="2191182"/>
              <a:ext cx="1119931" cy="903803"/>
            </a:xfrm>
            <a:custGeom>
              <a:avLst/>
              <a:gdLst>
                <a:gd name="T0" fmla="*/ 96 w 96"/>
                <a:gd name="T1" fmla="*/ 67 h 77"/>
                <a:gd name="T2" fmla="*/ 15 w 96"/>
                <a:gd name="T3" fmla="*/ 0 h 77"/>
                <a:gd name="T4" fmla="*/ 0 w 96"/>
                <a:gd name="T5" fmla="*/ 8 h 77"/>
                <a:gd name="T6" fmla="*/ 96 w 96"/>
                <a:gd name="T7" fmla="*/ 77 h 77"/>
                <a:gd name="T8" fmla="*/ 96 w 96"/>
                <a:gd name="T9" fmla="*/ 6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77">
                  <a:moveTo>
                    <a:pt x="96" y="67"/>
                  </a:moveTo>
                  <a:cubicBezTo>
                    <a:pt x="69" y="43"/>
                    <a:pt x="40" y="20"/>
                    <a:pt x="15" y="0"/>
                  </a:cubicBezTo>
                  <a:cubicBezTo>
                    <a:pt x="9" y="2"/>
                    <a:pt x="4" y="5"/>
                    <a:pt x="0" y="8"/>
                  </a:cubicBezTo>
                  <a:cubicBezTo>
                    <a:pt x="28" y="29"/>
                    <a:pt x="63" y="53"/>
                    <a:pt x="96" y="77"/>
                  </a:cubicBezTo>
                  <a:lnTo>
                    <a:pt x="96" y="67"/>
                  </a:lnTo>
                  <a:close/>
                </a:path>
              </a:pathLst>
            </a:custGeom>
            <a:solidFill>
              <a:srgbClr val="E951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80" name="Freeform 68">
              <a:extLst>
                <a:ext uri="{FF2B5EF4-FFF2-40B4-BE49-F238E27FC236}">
                  <a16:creationId xmlns:a16="http://schemas.microsoft.com/office/drawing/2014/main" id="{E592F34F-851D-4192-8FF2-51FE7DF3AA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02759" y="2284510"/>
              <a:ext cx="1129755" cy="820300"/>
            </a:xfrm>
            <a:custGeom>
              <a:avLst/>
              <a:gdLst>
                <a:gd name="T0" fmla="*/ 97 w 97"/>
                <a:gd name="T1" fmla="*/ 69 h 70"/>
                <a:gd name="T2" fmla="*/ 1 w 97"/>
                <a:gd name="T3" fmla="*/ 0 h 70"/>
                <a:gd name="T4" fmla="*/ 0 w 97"/>
                <a:gd name="T5" fmla="*/ 1 h 70"/>
                <a:gd name="T6" fmla="*/ 97 w 97"/>
                <a:gd name="T7" fmla="*/ 70 h 70"/>
                <a:gd name="T8" fmla="*/ 97 w 97"/>
                <a:gd name="T9" fmla="*/ 6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70">
                  <a:moveTo>
                    <a:pt x="97" y="69"/>
                  </a:moveTo>
                  <a:cubicBezTo>
                    <a:pt x="64" y="45"/>
                    <a:pt x="29" y="21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8" y="22"/>
                    <a:pt x="64" y="46"/>
                    <a:pt x="97" y="70"/>
                  </a:cubicBezTo>
                  <a:lnTo>
                    <a:pt x="97" y="69"/>
                  </a:lnTo>
                  <a:close/>
                </a:path>
              </a:pathLst>
            </a:custGeom>
            <a:solidFill>
              <a:srgbClr val="0C2C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81" name="Freeform 69">
              <a:extLst>
                <a:ext uri="{FF2B5EF4-FFF2-40B4-BE49-F238E27FC236}">
                  <a16:creationId xmlns:a16="http://schemas.microsoft.com/office/drawing/2014/main" id="{152ADAB3-6A28-4B5F-A0BD-4F65C03794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5983" y="2269774"/>
              <a:ext cx="93328" cy="672941"/>
            </a:xfrm>
            <a:custGeom>
              <a:avLst/>
              <a:gdLst>
                <a:gd name="T0" fmla="*/ 2 w 8"/>
                <a:gd name="T1" fmla="*/ 57 h 57"/>
                <a:gd name="T2" fmla="*/ 8 w 8"/>
                <a:gd name="T3" fmla="*/ 2 h 57"/>
                <a:gd name="T4" fmla="*/ 4 w 8"/>
                <a:gd name="T5" fmla="*/ 0 h 57"/>
                <a:gd name="T6" fmla="*/ 1 w 8"/>
                <a:gd name="T7" fmla="*/ 57 h 57"/>
                <a:gd name="T8" fmla="*/ 2 w 8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7">
                  <a:moveTo>
                    <a:pt x="2" y="57"/>
                  </a:moveTo>
                  <a:cubicBezTo>
                    <a:pt x="2" y="37"/>
                    <a:pt x="3" y="17"/>
                    <a:pt x="8" y="2"/>
                  </a:cubicBezTo>
                  <a:cubicBezTo>
                    <a:pt x="7" y="1"/>
                    <a:pt x="5" y="0"/>
                    <a:pt x="4" y="0"/>
                  </a:cubicBezTo>
                  <a:cubicBezTo>
                    <a:pt x="0" y="15"/>
                    <a:pt x="0" y="36"/>
                    <a:pt x="1" y="57"/>
                  </a:cubicBezTo>
                  <a:lnTo>
                    <a:pt x="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82" name="Freeform 70">
              <a:extLst>
                <a:ext uri="{FF2B5EF4-FFF2-40B4-BE49-F238E27FC236}">
                  <a16:creationId xmlns:a16="http://schemas.microsoft.com/office/drawing/2014/main" id="{16F73A86-B255-46E8-9455-4D572B8253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3729" y="3271817"/>
              <a:ext cx="186655" cy="304542"/>
            </a:xfrm>
            <a:custGeom>
              <a:avLst/>
              <a:gdLst>
                <a:gd name="T0" fmla="*/ 16 w 16"/>
                <a:gd name="T1" fmla="*/ 26 h 26"/>
                <a:gd name="T2" fmla="*/ 7 w 16"/>
                <a:gd name="T3" fmla="*/ 13 h 26"/>
                <a:gd name="T4" fmla="*/ 1 w 16"/>
                <a:gd name="T5" fmla="*/ 2 h 26"/>
                <a:gd name="T6" fmla="*/ 0 w 16"/>
                <a:gd name="T7" fmla="*/ 0 h 26"/>
                <a:gd name="T8" fmla="*/ 0 w 16"/>
                <a:gd name="T9" fmla="*/ 1 h 26"/>
                <a:gd name="T10" fmla="*/ 0 w 16"/>
                <a:gd name="T11" fmla="*/ 12 h 26"/>
                <a:gd name="T12" fmla="*/ 0 w 16"/>
                <a:gd name="T13" fmla="*/ 26 h 26"/>
                <a:gd name="T14" fmla="*/ 16 w 1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6">
                  <a:moveTo>
                    <a:pt x="16" y="26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5" y="9"/>
                    <a:pt x="2" y="5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5"/>
                    <a:pt x="0" y="9"/>
                    <a:pt x="0" y="1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6" y="26"/>
                    <a:pt x="11" y="26"/>
                    <a:pt x="16" y="26"/>
                  </a:cubicBez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83" name="Freeform 71">
              <a:extLst>
                <a:ext uri="{FF2B5EF4-FFF2-40B4-BE49-F238E27FC236}">
                  <a16:creationId xmlns:a16="http://schemas.microsoft.com/office/drawing/2014/main" id="{4AAAED76-635C-4532-A857-0B9E0AA598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92" y="2294334"/>
              <a:ext cx="1198522" cy="844860"/>
            </a:xfrm>
            <a:custGeom>
              <a:avLst/>
              <a:gdLst>
                <a:gd name="T0" fmla="*/ 103 w 103"/>
                <a:gd name="T1" fmla="*/ 69 h 72"/>
                <a:gd name="T2" fmla="*/ 6 w 103"/>
                <a:gd name="T3" fmla="*/ 0 h 72"/>
                <a:gd name="T4" fmla="*/ 0 w 103"/>
                <a:gd name="T5" fmla="*/ 4 h 72"/>
                <a:gd name="T6" fmla="*/ 103 w 103"/>
                <a:gd name="T7" fmla="*/ 72 h 72"/>
                <a:gd name="T8" fmla="*/ 103 w 103"/>
                <a:gd name="T9" fmla="*/ 6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72">
                  <a:moveTo>
                    <a:pt x="103" y="69"/>
                  </a:moveTo>
                  <a:cubicBezTo>
                    <a:pt x="70" y="45"/>
                    <a:pt x="34" y="21"/>
                    <a:pt x="6" y="0"/>
                  </a:cubicBezTo>
                  <a:cubicBezTo>
                    <a:pt x="4" y="1"/>
                    <a:pt x="2" y="3"/>
                    <a:pt x="0" y="4"/>
                  </a:cubicBezTo>
                  <a:cubicBezTo>
                    <a:pt x="30" y="25"/>
                    <a:pt x="68" y="49"/>
                    <a:pt x="103" y="72"/>
                  </a:cubicBezTo>
                  <a:lnTo>
                    <a:pt x="103" y="69"/>
                  </a:lnTo>
                  <a:close/>
                </a:path>
              </a:pathLst>
            </a:custGeom>
            <a:solidFill>
              <a:srgbClr val="4DB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84" name="Freeform 72">
              <a:extLst>
                <a:ext uri="{FF2B5EF4-FFF2-40B4-BE49-F238E27FC236}">
                  <a16:creationId xmlns:a16="http://schemas.microsoft.com/office/drawing/2014/main" id="{2EE0C503-CF85-4C31-A812-2709E1694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6245" y="3576359"/>
              <a:ext cx="314366" cy="127711"/>
            </a:xfrm>
            <a:custGeom>
              <a:avLst/>
              <a:gdLst>
                <a:gd name="T0" fmla="*/ 27 w 27"/>
                <a:gd name="T1" fmla="*/ 0 h 11"/>
                <a:gd name="T2" fmla="*/ 0 w 27"/>
                <a:gd name="T3" fmla="*/ 0 h 11"/>
                <a:gd name="T4" fmla="*/ 0 w 27"/>
                <a:gd name="T5" fmla="*/ 11 h 11"/>
                <a:gd name="T6" fmla="*/ 7 w 27"/>
                <a:gd name="T7" fmla="*/ 11 h 11"/>
                <a:gd name="T8" fmla="*/ 27 w 27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1">
                  <a:moveTo>
                    <a:pt x="27" y="0"/>
                  </a:moveTo>
                  <a:cubicBezTo>
                    <a:pt x="18" y="0"/>
                    <a:pt x="9" y="0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9" y="11"/>
                    <a:pt x="25" y="7"/>
                    <a:pt x="27" y="0"/>
                  </a:cubicBezTo>
                  <a:close/>
                </a:path>
              </a:pathLst>
            </a:custGeom>
            <a:solidFill>
              <a:srgbClr val="E951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85" name="Freeform 73">
              <a:extLst>
                <a:ext uri="{FF2B5EF4-FFF2-40B4-BE49-F238E27FC236}">
                  <a16:creationId xmlns:a16="http://schemas.microsoft.com/office/drawing/2014/main" id="{0D18C872-E4D6-463C-812E-E7696CCF61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6245" y="3129370"/>
              <a:ext cx="334014" cy="446990"/>
            </a:xfrm>
            <a:custGeom>
              <a:avLst/>
              <a:gdLst>
                <a:gd name="T0" fmla="*/ 8 w 29"/>
                <a:gd name="T1" fmla="*/ 0 h 38"/>
                <a:gd name="T2" fmla="*/ 0 w 29"/>
                <a:gd name="T3" fmla="*/ 0 h 38"/>
                <a:gd name="T4" fmla="*/ 0 w 29"/>
                <a:gd name="T5" fmla="*/ 38 h 38"/>
                <a:gd name="T6" fmla="*/ 27 w 29"/>
                <a:gd name="T7" fmla="*/ 38 h 38"/>
                <a:gd name="T8" fmla="*/ 29 w 29"/>
                <a:gd name="T9" fmla="*/ 25 h 38"/>
                <a:gd name="T10" fmla="*/ 8 w 29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8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9" y="38"/>
                    <a:pt x="18" y="38"/>
                    <a:pt x="27" y="38"/>
                  </a:cubicBezTo>
                  <a:cubicBezTo>
                    <a:pt x="29" y="35"/>
                    <a:pt x="29" y="30"/>
                    <a:pt x="29" y="25"/>
                  </a:cubicBezTo>
                  <a:cubicBezTo>
                    <a:pt x="29" y="11"/>
                    <a:pt x="25" y="0"/>
                    <a:pt x="8" y="0"/>
                  </a:cubicBez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86" name="Freeform 74">
              <a:extLst>
                <a:ext uri="{FF2B5EF4-FFF2-40B4-BE49-F238E27FC236}">
                  <a16:creationId xmlns:a16="http://schemas.microsoft.com/office/drawing/2014/main" id="{4E419C29-2D17-4C5A-A913-F908CAAE0C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2514" y="2942715"/>
              <a:ext cx="854684" cy="962747"/>
            </a:xfrm>
            <a:custGeom>
              <a:avLst/>
              <a:gdLst>
                <a:gd name="T0" fmla="*/ 0 w 73"/>
                <a:gd name="T1" fmla="*/ 13 h 82"/>
                <a:gd name="T2" fmla="*/ 0 w 73"/>
                <a:gd name="T3" fmla="*/ 3 h 82"/>
                <a:gd name="T4" fmla="*/ 0 w 73"/>
                <a:gd name="T5" fmla="*/ 0 h 82"/>
                <a:gd name="T6" fmla="*/ 11 w 73"/>
                <a:gd name="T7" fmla="*/ 0 h 82"/>
                <a:gd name="T8" fmla="*/ 19 w 73"/>
                <a:gd name="T9" fmla="*/ 0 h 82"/>
                <a:gd name="T10" fmla="*/ 22 w 73"/>
                <a:gd name="T11" fmla="*/ 0 h 82"/>
                <a:gd name="T12" fmla="*/ 22 w 73"/>
                <a:gd name="T13" fmla="*/ 0 h 82"/>
                <a:gd name="T14" fmla="*/ 27 w 73"/>
                <a:gd name="T15" fmla="*/ 9 h 82"/>
                <a:gd name="T16" fmla="*/ 27 w 73"/>
                <a:gd name="T17" fmla="*/ 9 h 82"/>
                <a:gd name="T18" fmla="*/ 45 w 73"/>
                <a:gd name="T19" fmla="*/ 37 h 82"/>
                <a:gd name="T20" fmla="*/ 45 w 73"/>
                <a:gd name="T21" fmla="*/ 37 h 82"/>
                <a:gd name="T22" fmla="*/ 48 w 73"/>
                <a:gd name="T23" fmla="*/ 41 h 82"/>
                <a:gd name="T24" fmla="*/ 51 w 73"/>
                <a:gd name="T25" fmla="*/ 48 h 82"/>
                <a:gd name="T26" fmla="*/ 55 w 73"/>
                <a:gd name="T27" fmla="*/ 54 h 82"/>
                <a:gd name="T28" fmla="*/ 55 w 73"/>
                <a:gd name="T29" fmla="*/ 42 h 82"/>
                <a:gd name="T30" fmla="*/ 55 w 73"/>
                <a:gd name="T31" fmla="*/ 31 h 82"/>
                <a:gd name="T32" fmla="*/ 55 w 73"/>
                <a:gd name="T33" fmla="*/ 0 h 82"/>
                <a:gd name="T34" fmla="*/ 55 w 73"/>
                <a:gd name="T35" fmla="*/ 0 h 82"/>
                <a:gd name="T36" fmla="*/ 56 w 73"/>
                <a:gd name="T37" fmla="*/ 0 h 82"/>
                <a:gd name="T38" fmla="*/ 57 w 73"/>
                <a:gd name="T39" fmla="*/ 0 h 82"/>
                <a:gd name="T40" fmla="*/ 64 w 73"/>
                <a:gd name="T41" fmla="*/ 0 h 82"/>
                <a:gd name="T42" fmla="*/ 73 w 73"/>
                <a:gd name="T43" fmla="*/ 0 h 82"/>
                <a:gd name="T44" fmla="*/ 73 w 73"/>
                <a:gd name="T45" fmla="*/ 25 h 82"/>
                <a:gd name="T46" fmla="*/ 73 w 73"/>
                <a:gd name="T47" fmla="*/ 27 h 82"/>
                <a:gd name="T48" fmla="*/ 73 w 73"/>
                <a:gd name="T49" fmla="*/ 39 h 82"/>
                <a:gd name="T50" fmla="*/ 73 w 73"/>
                <a:gd name="T51" fmla="*/ 44 h 82"/>
                <a:gd name="T52" fmla="*/ 73 w 73"/>
                <a:gd name="T53" fmla="*/ 79 h 82"/>
                <a:gd name="T54" fmla="*/ 73 w 73"/>
                <a:gd name="T55" fmla="*/ 82 h 82"/>
                <a:gd name="T56" fmla="*/ 64 w 73"/>
                <a:gd name="T57" fmla="*/ 82 h 82"/>
                <a:gd name="T58" fmla="*/ 53 w 73"/>
                <a:gd name="T59" fmla="*/ 82 h 82"/>
                <a:gd name="T60" fmla="*/ 51 w 73"/>
                <a:gd name="T61" fmla="*/ 82 h 82"/>
                <a:gd name="T62" fmla="*/ 43 w 73"/>
                <a:gd name="T63" fmla="*/ 70 h 82"/>
                <a:gd name="T64" fmla="*/ 41 w 73"/>
                <a:gd name="T65" fmla="*/ 67 h 82"/>
                <a:gd name="T66" fmla="*/ 34 w 73"/>
                <a:gd name="T67" fmla="*/ 54 h 82"/>
                <a:gd name="T68" fmla="*/ 25 w 73"/>
                <a:gd name="T69" fmla="*/ 41 h 82"/>
                <a:gd name="T70" fmla="*/ 19 w 73"/>
                <a:gd name="T71" fmla="*/ 30 h 82"/>
                <a:gd name="T72" fmla="*/ 18 w 73"/>
                <a:gd name="T73" fmla="*/ 28 h 82"/>
                <a:gd name="T74" fmla="*/ 18 w 73"/>
                <a:gd name="T75" fmla="*/ 29 h 82"/>
                <a:gd name="T76" fmla="*/ 18 w 73"/>
                <a:gd name="T77" fmla="*/ 40 h 82"/>
                <a:gd name="T78" fmla="*/ 18 w 73"/>
                <a:gd name="T79" fmla="*/ 54 h 82"/>
                <a:gd name="T80" fmla="*/ 18 w 73"/>
                <a:gd name="T81" fmla="*/ 82 h 82"/>
                <a:gd name="T82" fmla="*/ 0 w 73"/>
                <a:gd name="T83" fmla="*/ 82 h 82"/>
                <a:gd name="T84" fmla="*/ 0 w 73"/>
                <a:gd name="T85" fmla="*/ 54 h 82"/>
                <a:gd name="T86" fmla="*/ 0 w 73"/>
                <a:gd name="T87" fmla="*/ 17 h 82"/>
                <a:gd name="T88" fmla="*/ 0 w 73"/>
                <a:gd name="T89" fmla="*/ 14 h 82"/>
                <a:gd name="T90" fmla="*/ 0 w 73"/>
                <a:gd name="T91" fmla="*/ 13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3" h="82">
                  <a:moveTo>
                    <a:pt x="0" y="1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9" y="43"/>
                    <a:pt x="50" y="45"/>
                    <a:pt x="51" y="48"/>
                  </a:cubicBezTo>
                  <a:cubicBezTo>
                    <a:pt x="53" y="50"/>
                    <a:pt x="54" y="53"/>
                    <a:pt x="55" y="54"/>
                  </a:cubicBezTo>
                  <a:cubicBezTo>
                    <a:pt x="55" y="51"/>
                    <a:pt x="55" y="45"/>
                    <a:pt x="55" y="42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79"/>
                    <a:pt x="73" y="79"/>
                    <a:pt x="73" y="79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4" y="82"/>
                    <a:pt x="64" y="82"/>
                    <a:pt x="64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3" y="37"/>
                    <a:pt x="20" y="33"/>
                    <a:pt x="19" y="30"/>
                  </a:cubicBezTo>
                  <a:cubicBezTo>
                    <a:pt x="18" y="29"/>
                    <a:pt x="18" y="29"/>
                    <a:pt x="18" y="28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33"/>
                    <a:pt x="18" y="37"/>
                    <a:pt x="18" y="40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4"/>
                    <a:pt x="0" y="14"/>
                    <a:pt x="0" y="14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87" name="Rectangle 75">
              <a:extLst>
                <a:ext uri="{FF2B5EF4-FFF2-40B4-BE49-F238E27FC236}">
                  <a16:creationId xmlns:a16="http://schemas.microsoft.com/office/drawing/2014/main" id="{D33DFEB4-EA2D-4178-A18F-D2A2719939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54009" y="2942715"/>
              <a:ext cx="230863" cy="96274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88" name="Freeform 76">
              <a:extLst>
                <a:ext uri="{FF2B5EF4-FFF2-40B4-BE49-F238E27FC236}">
                  <a16:creationId xmlns:a16="http://schemas.microsoft.com/office/drawing/2014/main" id="{BE423EF2-949C-430D-805B-C7B5B8BBA3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20647" y="2942715"/>
              <a:ext cx="839948" cy="962747"/>
            </a:xfrm>
            <a:custGeom>
              <a:avLst/>
              <a:gdLst>
                <a:gd name="T0" fmla="*/ 31 w 72"/>
                <a:gd name="T1" fmla="*/ 0 h 82"/>
                <a:gd name="T2" fmla="*/ 0 w 72"/>
                <a:gd name="T3" fmla="*/ 0 h 82"/>
                <a:gd name="T4" fmla="*/ 0 w 72"/>
                <a:gd name="T5" fmla="*/ 54 h 82"/>
                <a:gd name="T6" fmla="*/ 0 w 72"/>
                <a:gd name="T7" fmla="*/ 82 h 82"/>
                <a:gd name="T8" fmla="*/ 30 w 72"/>
                <a:gd name="T9" fmla="*/ 82 h 82"/>
                <a:gd name="T10" fmla="*/ 70 w 72"/>
                <a:gd name="T11" fmla="*/ 54 h 82"/>
                <a:gd name="T12" fmla="*/ 72 w 72"/>
                <a:gd name="T13" fmla="*/ 41 h 82"/>
                <a:gd name="T14" fmla="*/ 31 w 72"/>
                <a:gd name="T15" fmla="*/ 0 h 82"/>
                <a:gd name="T16" fmla="*/ 48 w 72"/>
                <a:gd name="T17" fmla="*/ 54 h 82"/>
                <a:gd name="T18" fmla="*/ 28 w 72"/>
                <a:gd name="T19" fmla="*/ 65 h 82"/>
                <a:gd name="T20" fmla="*/ 21 w 72"/>
                <a:gd name="T21" fmla="*/ 65 h 82"/>
                <a:gd name="T22" fmla="*/ 21 w 72"/>
                <a:gd name="T23" fmla="*/ 54 h 82"/>
                <a:gd name="T24" fmla="*/ 21 w 72"/>
                <a:gd name="T25" fmla="*/ 16 h 82"/>
                <a:gd name="T26" fmla="*/ 29 w 72"/>
                <a:gd name="T27" fmla="*/ 16 h 82"/>
                <a:gd name="T28" fmla="*/ 50 w 72"/>
                <a:gd name="T29" fmla="*/ 41 h 82"/>
                <a:gd name="T30" fmla="*/ 48 w 72"/>
                <a:gd name="T31" fmla="*/ 5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" h="82">
                  <a:moveTo>
                    <a:pt x="3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54" y="82"/>
                    <a:pt x="66" y="69"/>
                    <a:pt x="70" y="54"/>
                  </a:cubicBezTo>
                  <a:cubicBezTo>
                    <a:pt x="71" y="50"/>
                    <a:pt x="72" y="45"/>
                    <a:pt x="72" y="41"/>
                  </a:cubicBezTo>
                  <a:cubicBezTo>
                    <a:pt x="72" y="20"/>
                    <a:pt x="61" y="0"/>
                    <a:pt x="31" y="0"/>
                  </a:cubicBezTo>
                  <a:close/>
                  <a:moveTo>
                    <a:pt x="48" y="54"/>
                  </a:moveTo>
                  <a:cubicBezTo>
                    <a:pt x="46" y="61"/>
                    <a:pt x="40" y="65"/>
                    <a:pt x="28" y="65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46" y="16"/>
                    <a:pt x="50" y="27"/>
                    <a:pt x="50" y="41"/>
                  </a:cubicBezTo>
                  <a:cubicBezTo>
                    <a:pt x="50" y="46"/>
                    <a:pt x="50" y="51"/>
                    <a:pt x="48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grpSp>
        <p:nvGrpSpPr>
          <p:cNvPr id="14" name="Groep 13">
            <a:extLst>
              <a:ext uri="{FF2B5EF4-FFF2-40B4-BE49-F238E27FC236}">
                <a16:creationId xmlns:a16="http://schemas.microsoft.com/office/drawing/2014/main" id="{CE72E3AD-D01F-433D-A744-E9C5F643B0B2}"/>
              </a:ext>
            </a:extLst>
          </p:cNvPr>
          <p:cNvGrpSpPr/>
          <p:nvPr userDrawn="1"/>
        </p:nvGrpSpPr>
        <p:grpSpPr>
          <a:xfrm>
            <a:off x="3399325" y="2083119"/>
            <a:ext cx="5393350" cy="2691762"/>
            <a:chOff x="3399325" y="1925936"/>
            <a:chExt cx="5393350" cy="2691762"/>
          </a:xfrm>
        </p:grpSpPr>
        <p:grpSp>
          <p:nvGrpSpPr>
            <p:cNvPr id="101" name="Groep 100">
              <a:extLst>
                <a:ext uri="{FF2B5EF4-FFF2-40B4-BE49-F238E27FC236}">
                  <a16:creationId xmlns:a16="http://schemas.microsoft.com/office/drawing/2014/main" id="{7281DCCA-CB92-4A9D-BA56-BBBB67FBB7DC}"/>
                </a:ext>
              </a:extLst>
            </p:cNvPr>
            <p:cNvGrpSpPr/>
            <p:nvPr userDrawn="1"/>
          </p:nvGrpSpPr>
          <p:grpSpPr>
            <a:xfrm>
              <a:off x="7063659" y="2903419"/>
              <a:ext cx="1729016" cy="525581"/>
              <a:chOff x="7063659" y="3060602"/>
              <a:chExt cx="1729016" cy="525581"/>
            </a:xfrm>
          </p:grpSpPr>
          <p:sp>
            <p:nvSpPr>
              <p:cNvPr id="102" name="Freeform 77">
                <a:extLst>
                  <a:ext uri="{FF2B5EF4-FFF2-40B4-BE49-F238E27FC236}">
                    <a16:creationId xmlns:a16="http://schemas.microsoft.com/office/drawing/2014/main" id="{554DA478-EF80-4AC0-A2D7-FB0762E469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63659" y="3060602"/>
                <a:ext cx="304543" cy="515757"/>
              </a:xfrm>
              <a:custGeom>
                <a:avLst/>
                <a:gdLst>
                  <a:gd name="T0" fmla="*/ 0 w 62"/>
                  <a:gd name="T1" fmla="*/ 0 h 105"/>
                  <a:gd name="T2" fmla="*/ 22 w 62"/>
                  <a:gd name="T3" fmla="*/ 0 h 105"/>
                  <a:gd name="T4" fmla="*/ 22 w 62"/>
                  <a:gd name="T5" fmla="*/ 88 h 105"/>
                  <a:gd name="T6" fmla="*/ 62 w 62"/>
                  <a:gd name="T7" fmla="*/ 88 h 105"/>
                  <a:gd name="T8" fmla="*/ 62 w 62"/>
                  <a:gd name="T9" fmla="*/ 105 h 105"/>
                  <a:gd name="T10" fmla="*/ 0 w 62"/>
                  <a:gd name="T11" fmla="*/ 105 h 105"/>
                  <a:gd name="T12" fmla="*/ 0 w 62"/>
                  <a:gd name="T13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" h="105">
                    <a:moveTo>
                      <a:pt x="0" y="0"/>
                    </a:moveTo>
                    <a:lnTo>
                      <a:pt x="22" y="0"/>
                    </a:lnTo>
                    <a:lnTo>
                      <a:pt x="22" y="88"/>
                    </a:lnTo>
                    <a:lnTo>
                      <a:pt x="62" y="88"/>
                    </a:lnTo>
                    <a:lnTo>
                      <a:pt x="62" y="105"/>
                    </a:lnTo>
                    <a:lnTo>
                      <a:pt x="0" y="1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961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3" name="Freeform 78">
                <a:extLst>
                  <a:ext uri="{FF2B5EF4-FFF2-40B4-BE49-F238E27FC236}">
                    <a16:creationId xmlns:a16="http://schemas.microsoft.com/office/drawing/2014/main" id="{A96DA033-916A-43C8-942E-0386DCF476D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7402586" y="3060602"/>
                <a:ext cx="515758" cy="515757"/>
              </a:xfrm>
              <a:custGeom>
                <a:avLst/>
                <a:gdLst>
                  <a:gd name="T0" fmla="*/ 16 w 44"/>
                  <a:gd name="T1" fmla="*/ 0 h 44"/>
                  <a:gd name="T2" fmla="*/ 27 w 44"/>
                  <a:gd name="T3" fmla="*/ 0 h 44"/>
                  <a:gd name="T4" fmla="*/ 44 w 44"/>
                  <a:gd name="T5" fmla="*/ 44 h 44"/>
                  <a:gd name="T6" fmla="*/ 33 w 44"/>
                  <a:gd name="T7" fmla="*/ 44 h 44"/>
                  <a:gd name="T8" fmla="*/ 30 w 44"/>
                  <a:gd name="T9" fmla="*/ 36 h 44"/>
                  <a:gd name="T10" fmla="*/ 13 w 44"/>
                  <a:gd name="T11" fmla="*/ 36 h 44"/>
                  <a:gd name="T12" fmla="*/ 10 w 44"/>
                  <a:gd name="T13" fmla="*/ 44 h 44"/>
                  <a:gd name="T14" fmla="*/ 0 w 44"/>
                  <a:gd name="T15" fmla="*/ 44 h 44"/>
                  <a:gd name="T16" fmla="*/ 16 w 44"/>
                  <a:gd name="T17" fmla="*/ 0 h 44"/>
                  <a:gd name="T18" fmla="*/ 28 w 44"/>
                  <a:gd name="T19" fmla="*/ 28 h 44"/>
                  <a:gd name="T20" fmla="*/ 24 w 44"/>
                  <a:gd name="T21" fmla="*/ 16 h 44"/>
                  <a:gd name="T22" fmla="*/ 22 w 44"/>
                  <a:gd name="T23" fmla="*/ 9 h 44"/>
                  <a:gd name="T24" fmla="*/ 21 w 44"/>
                  <a:gd name="T25" fmla="*/ 9 h 44"/>
                  <a:gd name="T26" fmla="*/ 19 w 44"/>
                  <a:gd name="T27" fmla="*/ 16 h 44"/>
                  <a:gd name="T28" fmla="*/ 15 w 44"/>
                  <a:gd name="T29" fmla="*/ 28 h 44"/>
                  <a:gd name="T30" fmla="*/ 28 w 44"/>
                  <a:gd name="T31" fmla="*/ 2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4" h="44">
                    <a:moveTo>
                      <a:pt x="16" y="0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30" y="36"/>
                      <a:pt x="30" y="36"/>
                      <a:pt x="30" y="36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0" y="44"/>
                      <a:pt x="0" y="44"/>
                      <a:pt x="0" y="44"/>
                    </a:cubicBezTo>
                    <a:lnTo>
                      <a:pt x="16" y="0"/>
                    </a:lnTo>
                    <a:close/>
                    <a:moveTo>
                      <a:pt x="28" y="28"/>
                    </a:moveTo>
                    <a:cubicBezTo>
                      <a:pt x="24" y="16"/>
                      <a:pt x="24" y="16"/>
                      <a:pt x="24" y="16"/>
                    </a:cubicBezTo>
                    <a:cubicBezTo>
                      <a:pt x="23" y="14"/>
                      <a:pt x="22" y="11"/>
                      <a:pt x="22" y="9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11"/>
                      <a:pt x="20" y="14"/>
                      <a:pt x="19" y="16"/>
                    </a:cubicBezTo>
                    <a:cubicBezTo>
                      <a:pt x="15" y="28"/>
                      <a:pt x="15" y="28"/>
                      <a:pt x="15" y="28"/>
                    </a:cubicBezTo>
                    <a:lnTo>
                      <a:pt x="28" y="28"/>
                    </a:lnTo>
                    <a:close/>
                  </a:path>
                </a:pathLst>
              </a:custGeom>
              <a:solidFill>
                <a:srgbClr val="1961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4" name="Freeform 79">
                <a:extLst>
                  <a:ext uri="{FF2B5EF4-FFF2-40B4-BE49-F238E27FC236}">
                    <a16:creationId xmlns:a16="http://schemas.microsoft.com/office/drawing/2014/main" id="{84D819DA-30DB-4B31-B578-349FFFA5A9A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7987111" y="3060602"/>
                <a:ext cx="388046" cy="515757"/>
              </a:xfrm>
              <a:custGeom>
                <a:avLst/>
                <a:gdLst>
                  <a:gd name="T0" fmla="*/ 0 w 33"/>
                  <a:gd name="T1" fmla="*/ 0 h 44"/>
                  <a:gd name="T2" fmla="*/ 17 w 33"/>
                  <a:gd name="T3" fmla="*/ 0 h 44"/>
                  <a:gd name="T4" fmla="*/ 32 w 33"/>
                  <a:gd name="T5" fmla="*/ 12 h 44"/>
                  <a:gd name="T6" fmla="*/ 25 w 33"/>
                  <a:gd name="T7" fmla="*/ 21 h 44"/>
                  <a:gd name="T8" fmla="*/ 25 w 33"/>
                  <a:gd name="T9" fmla="*/ 21 h 44"/>
                  <a:gd name="T10" fmla="*/ 33 w 33"/>
                  <a:gd name="T11" fmla="*/ 32 h 44"/>
                  <a:gd name="T12" fmla="*/ 17 w 33"/>
                  <a:gd name="T13" fmla="*/ 44 h 44"/>
                  <a:gd name="T14" fmla="*/ 0 w 33"/>
                  <a:gd name="T15" fmla="*/ 44 h 44"/>
                  <a:gd name="T16" fmla="*/ 0 w 33"/>
                  <a:gd name="T17" fmla="*/ 0 h 44"/>
                  <a:gd name="T18" fmla="*/ 15 w 33"/>
                  <a:gd name="T19" fmla="*/ 18 h 44"/>
                  <a:gd name="T20" fmla="*/ 22 w 33"/>
                  <a:gd name="T21" fmla="*/ 13 h 44"/>
                  <a:gd name="T22" fmla="*/ 16 w 33"/>
                  <a:gd name="T23" fmla="*/ 8 h 44"/>
                  <a:gd name="T24" fmla="*/ 10 w 33"/>
                  <a:gd name="T25" fmla="*/ 8 h 44"/>
                  <a:gd name="T26" fmla="*/ 10 w 33"/>
                  <a:gd name="T27" fmla="*/ 18 h 44"/>
                  <a:gd name="T28" fmla="*/ 15 w 33"/>
                  <a:gd name="T29" fmla="*/ 18 h 44"/>
                  <a:gd name="T30" fmla="*/ 16 w 33"/>
                  <a:gd name="T31" fmla="*/ 37 h 44"/>
                  <a:gd name="T32" fmla="*/ 22 w 33"/>
                  <a:gd name="T33" fmla="*/ 31 h 44"/>
                  <a:gd name="T34" fmla="*/ 16 w 33"/>
                  <a:gd name="T35" fmla="*/ 25 h 44"/>
                  <a:gd name="T36" fmla="*/ 10 w 33"/>
                  <a:gd name="T37" fmla="*/ 25 h 44"/>
                  <a:gd name="T38" fmla="*/ 10 w 33"/>
                  <a:gd name="T39" fmla="*/ 37 h 44"/>
                  <a:gd name="T40" fmla="*/ 16 w 33"/>
                  <a:gd name="T41" fmla="*/ 3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44">
                    <a:moveTo>
                      <a:pt x="0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26" y="0"/>
                      <a:pt x="32" y="5"/>
                      <a:pt x="32" y="12"/>
                    </a:cubicBezTo>
                    <a:cubicBezTo>
                      <a:pt x="32" y="17"/>
                      <a:pt x="28" y="20"/>
                      <a:pt x="25" y="21"/>
                    </a:cubicBezTo>
                    <a:cubicBezTo>
                      <a:pt x="25" y="21"/>
                      <a:pt x="25" y="21"/>
                      <a:pt x="25" y="21"/>
                    </a:cubicBezTo>
                    <a:cubicBezTo>
                      <a:pt x="29" y="23"/>
                      <a:pt x="33" y="26"/>
                      <a:pt x="33" y="32"/>
                    </a:cubicBezTo>
                    <a:cubicBezTo>
                      <a:pt x="33" y="40"/>
                      <a:pt x="27" y="44"/>
                      <a:pt x="17" y="44"/>
                    </a:cubicBezTo>
                    <a:cubicBezTo>
                      <a:pt x="0" y="44"/>
                      <a:pt x="0" y="44"/>
                      <a:pt x="0" y="44"/>
                    </a:cubicBezTo>
                    <a:lnTo>
                      <a:pt x="0" y="0"/>
                    </a:lnTo>
                    <a:close/>
                    <a:moveTo>
                      <a:pt x="15" y="18"/>
                    </a:moveTo>
                    <a:cubicBezTo>
                      <a:pt x="20" y="18"/>
                      <a:pt x="22" y="16"/>
                      <a:pt x="22" y="13"/>
                    </a:cubicBezTo>
                    <a:cubicBezTo>
                      <a:pt x="22" y="10"/>
                      <a:pt x="20" y="8"/>
                      <a:pt x="16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18"/>
                      <a:pt x="10" y="18"/>
                      <a:pt x="10" y="18"/>
                    </a:cubicBezTo>
                    <a:lnTo>
                      <a:pt x="15" y="18"/>
                    </a:lnTo>
                    <a:close/>
                    <a:moveTo>
                      <a:pt x="16" y="37"/>
                    </a:moveTo>
                    <a:cubicBezTo>
                      <a:pt x="20" y="37"/>
                      <a:pt x="22" y="35"/>
                      <a:pt x="22" y="31"/>
                    </a:cubicBezTo>
                    <a:cubicBezTo>
                      <a:pt x="22" y="27"/>
                      <a:pt x="20" y="25"/>
                      <a:pt x="16" y="25"/>
                    </a:cubicBezTo>
                    <a:cubicBezTo>
                      <a:pt x="10" y="25"/>
                      <a:pt x="10" y="25"/>
                      <a:pt x="10" y="25"/>
                    </a:cubicBezTo>
                    <a:cubicBezTo>
                      <a:pt x="10" y="37"/>
                      <a:pt x="10" y="37"/>
                      <a:pt x="10" y="37"/>
                    </a:cubicBezTo>
                    <a:lnTo>
                      <a:pt x="16" y="37"/>
                    </a:lnTo>
                    <a:close/>
                  </a:path>
                </a:pathLst>
              </a:custGeom>
              <a:solidFill>
                <a:srgbClr val="1961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5" name="Freeform 80">
                <a:extLst>
                  <a:ext uri="{FF2B5EF4-FFF2-40B4-BE49-F238E27FC236}">
                    <a16:creationId xmlns:a16="http://schemas.microsoft.com/office/drawing/2014/main" id="{E870421B-4F71-4701-83F9-C3CCB4903E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53749" y="3060602"/>
                <a:ext cx="338926" cy="525581"/>
              </a:xfrm>
              <a:custGeom>
                <a:avLst/>
                <a:gdLst>
                  <a:gd name="T0" fmla="*/ 0 w 29"/>
                  <a:gd name="T1" fmla="*/ 43 h 45"/>
                  <a:gd name="T2" fmla="*/ 0 w 29"/>
                  <a:gd name="T3" fmla="*/ 34 h 45"/>
                  <a:gd name="T4" fmla="*/ 11 w 29"/>
                  <a:gd name="T5" fmla="*/ 37 h 45"/>
                  <a:gd name="T6" fmla="*/ 19 w 29"/>
                  <a:gd name="T7" fmla="*/ 32 h 45"/>
                  <a:gd name="T8" fmla="*/ 9 w 29"/>
                  <a:gd name="T9" fmla="*/ 25 h 45"/>
                  <a:gd name="T10" fmla="*/ 0 w 29"/>
                  <a:gd name="T11" fmla="*/ 12 h 45"/>
                  <a:gd name="T12" fmla="*/ 15 w 29"/>
                  <a:gd name="T13" fmla="*/ 0 h 45"/>
                  <a:gd name="T14" fmla="*/ 26 w 29"/>
                  <a:gd name="T15" fmla="*/ 2 h 45"/>
                  <a:gd name="T16" fmla="*/ 26 w 29"/>
                  <a:gd name="T17" fmla="*/ 10 h 45"/>
                  <a:gd name="T18" fmla="*/ 16 w 29"/>
                  <a:gd name="T19" fmla="*/ 8 h 45"/>
                  <a:gd name="T20" fmla="*/ 9 w 29"/>
                  <a:gd name="T21" fmla="*/ 12 h 45"/>
                  <a:gd name="T22" fmla="*/ 16 w 29"/>
                  <a:gd name="T23" fmla="*/ 18 h 45"/>
                  <a:gd name="T24" fmla="*/ 29 w 29"/>
                  <a:gd name="T25" fmla="*/ 32 h 45"/>
                  <a:gd name="T26" fmla="*/ 13 w 29"/>
                  <a:gd name="T27" fmla="*/ 45 h 45"/>
                  <a:gd name="T28" fmla="*/ 0 w 29"/>
                  <a:gd name="T29" fmla="*/ 4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45">
                    <a:moveTo>
                      <a:pt x="0" y="43"/>
                    </a:moveTo>
                    <a:cubicBezTo>
                      <a:pt x="0" y="34"/>
                      <a:pt x="0" y="34"/>
                      <a:pt x="0" y="34"/>
                    </a:cubicBezTo>
                    <a:cubicBezTo>
                      <a:pt x="3" y="36"/>
                      <a:pt x="7" y="37"/>
                      <a:pt x="11" y="37"/>
                    </a:cubicBezTo>
                    <a:cubicBezTo>
                      <a:pt x="16" y="37"/>
                      <a:pt x="19" y="35"/>
                      <a:pt x="19" y="32"/>
                    </a:cubicBezTo>
                    <a:cubicBezTo>
                      <a:pt x="19" y="28"/>
                      <a:pt x="15" y="28"/>
                      <a:pt x="9" y="25"/>
                    </a:cubicBezTo>
                    <a:cubicBezTo>
                      <a:pt x="4" y="23"/>
                      <a:pt x="0" y="20"/>
                      <a:pt x="0" y="12"/>
                    </a:cubicBezTo>
                    <a:cubicBezTo>
                      <a:pt x="0" y="4"/>
                      <a:pt x="6" y="0"/>
                      <a:pt x="15" y="0"/>
                    </a:cubicBezTo>
                    <a:cubicBezTo>
                      <a:pt x="20" y="0"/>
                      <a:pt x="24" y="1"/>
                      <a:pt x="26" y="2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4" y="9"/>
                      <a:pt x="20" y="8"/>
                      <a:pt x="16" y="8"/>
                    </a:cubicBezTo>
                    <a:cubicBezTo>
                      <a:pt x="11" y="8"/>
                      <a:pt x="9" y="9"/>
                      <a:pt x="9" y="12"/>
                    </a:cubicBezTo>
                    <a:cubicBezTo>
                      <a:pt x="9" y="15"/>
                      <a:pt x="12" y="16"/>
                      <a:pt x="16" y="18"/>
                    </a:cubicBezTo>
                    <a:cubicBezTo>
                      <a:pt x="22" y="21"/>
                      <a:pt x="29" y="22"/>
                      <a:pt x="29" y="32"/>
                    </a:cubicBezTo>
                    <a:cubicBezTo>
                      <a:pt x="29" y="40"/>
                      <a:pt x="22" y="45"/>
                      <a:pt x="13" y="45"/>
                    </a:cubicBezTo>
                    <a:cubicBezTo>
                      <a:pt x="7" y="45"/>
                      <a:pt x="3" y="44"/>
                      <a:pt x="0" y="43"/>
                    </a:cubicBezTo>
                    <a:close/>
                  </a:path>
                </a:pathLst>
              </a:custGeom>
              <a:solidFill>
                <a:srgbClr val="1961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32FC12EA-2CA4-4FA8-8D2F-EDF289C0EAD5}"/>
                </a:ext>
              </a:extLst>
            </p:cNvPr>
            <p:cNvGrpSpPr/>
            <p:nvPr userDrawn="1"/>
          </p:nvGrpSpPr>
          <p:grpSpPr>
            <a:xfrm>
              <a:off x="3399325" y="1925936"/>
              <a:ext cx="3467856" cy="2691762"/>
              <a:chOff x="3399325" y="2083119"/>
              <a:chExt cx="3467856" cy="2691762"/>
            </a:xfrm>
          </p:grpSpPr>
          <p:sp>
            <p:nvSpPr>
              <p:cNvPr id="107" name="Freeform 46">
                <a:extLst>
                  <a:ext uri="{FF2B5EF4-FFF2-40B4-BE49-F238E27FC236}">
                    <a16:creationId xmlns:a16="http://schemas.microsoft.com/office/drawing/2014/main" id="{B99CFE33-32F8-461B-8564-D173A61C1E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22690" y="2097855"/>
                <a:ext cx="653293" cy="1478504"/>
              </a:xfrm>
              <a:custGeom>
                <a:avLst/>
                <a:gdLst>
                  <a:gd name="T0" fmla="*/ 56 w 56"/>
                  <a:gd name="T1" fmla="*/ 126 h 126"/>
                  <a:gd name="T2" fmla="*/ 0 w 56"/>
                  <a:gd name="T3" fmla="*/ 0 h 126"/>
                  <a:gd name="T4" fmla="*/ 38 w 56"/>
                  <a:gd name="T5" fmla="*/ 6 h 126"/>
                  <a:gd name="T6" fmla="*/ 56 w 56"/>
                  <a:gd name="T7" fmla="*/ 126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6" h="126">
                    <a:moveTo>
                      <a:pt x="56" y="126"/>
                    </a:moveTo>
                    <a:cubicBezTo>
                      <a:pt x="42" y="83"/>
                      <a:pt x="16" y="30"/>
                      <a:pt x="0" y="0"/>
                    </a:cubicBezTo>
                    <a:cubicBezTo>
                      <a:pt x="15" y="1"/>
                      <a:pt x="26" y="3"/>
                      <a:pt x="38" y="6"/>
                    </a:cubicBezTo>
                    <a:cubicBezTo>
                      <a:pt x="38" y="36"/>
                      <a:pt x="54" y="86"/>
                      <a:pt x="56" y="126"/>
                    </a:cubicBezTo>
                    <a:close/>
                  </a:path>
                </a:pathLst>
              </a:custGeom>
              <a:solidFill>
                <a:srgbClr val="15B4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8" name="Freeform 47">
                <a:extLst>
                  <a:ext uri="{FF2B5EF4-FFF2-40B4-BE49-F238E27FC236}">
                    <a16:creationId xmlns:a16="http://schemas.microsoft.com/office/drawing/2014/main" id="{078AC081-4CE1-4C30-BF2E-1E8A3AF1E0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399325" y="2927979"/>
                <a:ext cx="653293" cy="987307"/>
              </a:xfrm>
              <a:custGeom>
                <a:avLst/>
                <a:gdLst>
                  <a:gd name="T0" fmla="*/ 0 w 56"/>
                  <a:gd name="T1" fmla="*/ 80 h 84"/>
                  <a:gd name="T2" fmla="*/ 0 w 56"/>
                  <a:gd name="T3" fmla="*/ 62 h 84"/>
                  <a:gd name="T4" fmla="*/ 22 w 56"/>
                  <a:gd name="T5" fmla="*/ 67 h 84"/>
                  <a:gd name="T6" fmla="*/ 35 w 56"/>
                  <a:gd name="T7" fmla="*/ 60 h 84"/>
                  <a:gd name="T8" fmla="*/ 16 w 56"/>
                  <a:gd name="T9" fmla="*/ 48 h 84"/>
                  <a:gd name="T10" fmla="*/ 0 w 56"/>
                  <a:gd name="T11" fmla="*/ 24 h 84"/>
                  <a:gd name="T12" fmla="*/ 30 w 56"/>
                  <a:gd name="T13" fmla="*/ 0 h 84"/>
                  <a:gd name="T14" fmla="*/ 51 w 56"/>
                  <a:gd name="T15" fmla="*/ 3 h 84"/>
                  <a:gd name="T16" fmla="*/ 51 w 56"/>
                  <a:gd name="T17" fmla="*/ 21 h 84"/>
                  <a:gd name="T18" fmla="*/ 32 w 56"/>
                  <a:gd name="T19" fmla="*/ 16 h 84"/>
                  <a:gd name="T20" fmla="*/ 21 w 56"/>
                  <a:gd name="T21" fmla="*/ 23 h 84"/>
                  <a:gd name="T22" fmla="*/ 33 w 56"/>
                  <a:gd name="T23" fmla="*/ 33 h 84"/>
                  <a:gd name="T24" fmla="*/ 56 w 56"/>
                  <a:gd name="T25" fmla="*/ 59 h 84"/>
                  <a:gd name="T26" fmla="*/ 26 w 56"/>
                  <a:gd name="T27" fmla="*/ 84 h 84"/>
                  <a:gd name="T28" fmla="*/ 0 w 56"/>
                  <a:gd name="T29" fmla="*/ 8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6" h="84">
                    <a:moveTo>
                      <a:pt x="0" y="80"/>
                    </a:moveTo>
                    <a:cubicBezTo>
                      <a:pt x="0" y="62"/>
                      <a:pt x="0" y="62"/>
                      <a:pt x="0" y="62"/>
                    </a:cubicBezTo>
                    <a:cubicBezTo>
                      <a:pt x="6" y="65"/>
                      <a:pt x="14" y="67"/>
                      <a:pt x="22" y="67"/>
                    </a:cubicBezTo>
                    <a:cubicBezTo>
                      <a:pt x="31" y="67"/>
                      <a:pt x="35" y="65"/>
                      <a:pt x="35" y="60"/>
                    </a:cubicBezTo>
                    <a:cubicBezTo>
                      <a:pt x="35" y="53"/>
                      <a:pt x="29" y="53"/>
                      <a:pt x="16" y="48"/>
                    </a:cubicBezTo>
                    <a:cubicBezTo>
                      <a:pt x="8" y="44"/>
                      <a:pt x="0" y="38"/>
                      <a:pt x="0" y="24"/>
                    </a:cubicBezTo>
                    <a:cubicBezTo>
                      <a:pt x="0" y="7"/>
                      <a:pt x="13" y="0"/>
                      <a:pt x="30" y="0"/>
                    </a:cubicBezTo>
                    <a:cubicBezTo>
                      <a:pt x="39" y="0"/>
                      <a:pt x="47" y="2"/>
                      <a:pt x="51" y="3"/>
                    </a:cubicBezTo>
                    <a:cubicBezTo>
                      <a:pt x="51" y="21"/>
                      <a:pt x="51" y="21"/>
                      <a:pt x="51" y="21"/>
                    </a:cubicBezTo>
                    <a:cubicBezTo>
                      <a:pt x="47" y="19"/>
                      <a:pt x="39" y="16"/>
                      <a:pt x="32" y="16"/>
                    </a:cubicBezTo>
                    <a:cubicBezTo>
                      <a:pt x="24" y="16"/>
                      <a:pt x="21" y="19"/>
                      <a:pt x="21" y="23"/>
                    </a:cubicBezTo>
                    <a:cubicBezTo>
                      <a:pt x="21" y="28"/>
                      <a:pt x="25" y="30"/>
                      <a:pt x="33" y="33"/>
                    </a:cubicBezTo>
                    <a:cubicBezTo>
                      <a:pt x="45" y="37"/>
                      <a:pt x="56" y="42"/>
                      <a:pt x="56" y="59"/>
                    </a:cubicBezTo>
                    <a:cubicBezTo>
                      <a:pt x="56" y="76"/>
                      <a:pt x="43" y="84"/>
                      <a:pt x="26" y="84"/>
                    </a:cubicBezTo>
                    <a:cubicBezTo>
                      <a:pt x="15" y="84"/>
                      <a:pt x="7" y="82"/>
                      <a:pt x="0" y="80"/>
                    </a:cubicBezTo>
                    <a:close/>
                  </a:path>
                </a:pathLst>
              </a:custGeom>
              <a:solidFill>
                <a:srgbClr val="1961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9" name="Freeform 48">
                <a:extLst>
                  <a:ext uri="{FF2B5EF4-FFF2-40B4-BE49-F238E27FC236}">
                    <a16:creationId xmlns:a16="http://schemas.microsoft.com/office/drawing/2014/main" id="{F79991F3-C7B2-4CD7-8D65-480EE6F586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54009" y="2343454"/>
                <a:ext cx="1478505" cy="1232906"/>
              </a:xfrm>
              <a:custGeom>
                <a:avLst/>
                <a:gdLst>
                  <a:gd name="T0" fmla="*/ 127 w 127"/>
                  <a:gd name="T1" fmla="*/ 105 h 105"/>
                  <a:gd name="T2" fmla="*/ 127 w 127"/>
                  <a:gd name="T3" fmla="*/ 68 h 105"/>
                  <a:gd name="T4" fmla="*/ 24 w 127"/>
                  <a:gd name="T5" fmla="*/ 0 h 105"/>
                  <a:gd name="T6" fmla="*/ 0 w 127"/>
                  <a:gd name="T7" fmla="*/ 51 h 105"/>
                  <a:gd name="T8" fmla="*/ 20 w 127"/>
                  <a:gd name="T9" fmla="*/ 51 h 105"/>
                  <a:gd name="T10" fmla="*/ 20 w 127"/>
                  <a:gd name="T11" fmla="*/ 105 h 105"/>
                  <a:gd name="T12" fmla="*/ 40 w 127"/>
                  <a:gd name="T13" fmla="*/ 105 h 105"/>
                  <a:gd name="T14" fmla="*/ 40 w 127"/>
                  <a:gd name="T15" fmla="*/ 51 h 105"/>
                  <a:gd name="T16" fmla="*/ 71 w 127"/>
                  <a:gd name="T17" fmla="*/ 51 h 105"/>
                  <a:gd name="T18" fmla="*/ 112 w 127"/>
                  <a:gd name="T19" fmla="*/ 92 h 105"/>
                  <a:gd name="T20" fmla="*/ 110 w 127"/>
                  <a:gd name="T21" fmla="*/ 105 h 105"/>
                  <a:gd name="T22" fmla="*/ 127 w 127"/>
                  <a:gd name="T23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7" h="105">
                    <a:moveTo>
                      <a:pt x="127" y="105"/>
                    </a:moveTo>
                    <a:cubicBezTo>
                      <a:pt x="127" y="68"/>
                      <a:pt x="127" y="68"/>
                      <a:pt x="127" y="68"/>
                    </a:cubicBezTo>
                    <a:cubicBezTo>
                      <a:pt x="92" y="45"/>
                      <a:pt x="54" y="21"/>
                      <a:pt x="24" y="0"/>
                    </a:cubicBezTo>
                    <a:cubicBezTo>
                      <a:pt x="12" y="11"/>
                      <a:pt x="3" y="29"/>
                      <a:pt x="0" y="51"/>
                    </a:cubicBezTo>
                    <a:cubicBezTo>
                      <a:pt x="20" y="51"/>
                      <a:pt x="20" y="51"/>
                      <a:pt x="20" y="51"/>
                    </a:cubicBezTo>
                    <a:cubicBezTo>
                      <a:pt x="20" y="105"/>
                      <a:pt x="20" y="105"/>
                      <a:pt x="20" y="105"/>
                    </a:cubicBezTo>
                    <a:cubicBezTo>
                      <a:pt x="26" y="105"/>
                      <a:pt x="33" y="105"/>
                      <a:pt x="40" y="105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71" y="51"/>
                      <a:pt x="71" y="51"/>
                      <a:pt x="71" y="51"/>
                    </a:cubicBezTo>
                    <a:cubicBezTo>
                      <a:pt x="101" y="51"/>
                      <a:pt x="112" y="71"/>
                      <a:pt x="112" y="92"/>
                    </a:cubicBezTo>
                    <a:cubicBezTo>
                      <a:pt x="112" y="96"/>
                      <a:pt x="111" y="101"/>
                      <a:pt x="110" y="105"/>
                    </a:cubicBezTo>
                    <a:cubicBezTo>
                      <a:pt x="116" y="105"/>
                      <a:pt x="122" y="105"/>
                      <a:pt x="127" y="105"/>
                    </a:cubicBezTo>
                    <a:close/>
                  </a:path>
                </a:pathLst>
              </a:custGeom>
              <a:solidFill>
                <a:srgbClr val="1961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0" name="Freeform 49">
                <a:extLst>
                  <a:ext uri="{FF2B5EF4-FFF2-40B4-BE49-F238E27FC236}">
                    <a16:creationId xmlns:a16="http://schemas.microsoft.com/office/drawing/2014/main" id="{EC8A5441-3D23-432F-AA38-DE6957CAA6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54009" y="3576359"/>
                <a:ext cx="1959879" cy="1056075"/>
              </a:xfrm>
              <a:custGeom>
                <a:avLst/>
                <a:gdLst>
                  <a:gd name="T0" fmla="*/ 161 w 168"/>
                  <a:gd name="T1" fmla="*/ 0 h 90"/>
                  <a:gd name="T2" fmla="*/ 145 w 168"/>
                  <a:gd name="T3" fmla="*/ 0 h 90"/>
                  <a:gd name="T4" fmla="*/ 145 w 168"/>
                  <a:gd name="T5" fmla="*/ 28 h 90"/>
                  <a:gd name="T6" fmla="*/ 127 w 168"/>
                  <a:gd name="T7" fmla="*/ 28 h 90"/>
                  <a:gd name="T8" fmla="*/ 127 w 168"/>
                  <a:gd name="T9" fmla="*/ 0 h 90"/>
                  <a:gd name="T10" fmla="*/ 110 w 168"/>
                  <a:gd name="T11" fmla="*/ 0 h 90"/>
                  <a:gd name="T12" fmla="*/ 70 w 168"/>
                  <a:gd name="T13" fmla="*/ 28 h 90"/>
                  <a:gd name="T14" fmla="*/ 40 w 168"/>
                  <a:gd name="T15" fmla="*/ 28 h 90"/>
                  <a:gd name="T16" fmla="*/ 40 w 168"/>
                  <a:gd name="T17" fmla="*/ 0 h 90"/>
                  <a:gd name="T18" fmla="*/ 20 w 168"/>
                  <a:gd name="T19" fmla="*/ 0 h 90"/>
                  <a:gd name="T20" fmla="*/ 20 w 168"/>
                  <a:gd name="T21" fmla="*/ 28 h 90"/>
                  <a:gd name="T22" fmla="*/ 0 w 168"/>
                  <a:gd name="T23" fmla="*/ 28 h 90"/>
                  <a:gd name="T24" fmla="*/ 46 w 168"/>
                  <a:gd name="T25" fmla="*/ 90 h 90"/>
                  <a:gd name="T26" fmla="*/ 168 w 168"/>
                  <a:gd name="T27" fmla="*/ 13 h 90"/>
                  <a:gd name="T28" fmla="*/ 161 w 168"/>
                  <a:gd name="T2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8" h="90">
                    <a:moveTo>
                      <a:pt x="161" y="0"/>
                    </a:moveTo>
                    <a:cubicBezTo>
                      <a:pt x="156" y="0"/>
                      <a:pt x="151" y="0"/>
                      <a:pt x="145" y="0"/>
                    </a:cubicBezTo>
                    <a:cubicBezTo>
                      <a:pt x="145" y="28"/>
                      <a:pt x="145" y="28"/>
                      <a:pt x="145" y="28"/>
                    </a:cubicBezTo>
                    <a:cubicBezTo>
                      <a:pt x="127" y="28"/>
                      <a:pt x="127" y="28"/>
                      <a:pt x="127" y="28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2" y="0"/>
                      <a:pt x="116" y="0"/>
                      <a:pt x="110" y="0"/>
                    </a:cubicBezTo>
                    <a:cubicBezTo>
                      <a:pt x="106" y="15"/>
                      <a:pt x="94" y="28"/>
                      <a:pt x="7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33" y="0"/>
                      <a:pt x="26" y="0"/>
                      <a:pt x="20" y="0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4" y="59"/>
                      <a:pt x="17" y="81"/>
                      <a:pt x="46" y="90"/>
                    </a:cubicBezTo>
                    <a:cubicBezTo>
                      <a:pt x="84" y="63"/>
                      <a:pt x="132" y="42"/>
                      <a:pt x="168" y="13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E951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1" name="Freeform 50">
                <a:extLst>
                  <a:ext uri="{FF2B5EF4-FFF2-40B4-BE49-F238E27FC236}">
                    <a16:creationId xmlns:a16="http://schemas.microsoft.com/office/drawing/2014/main" id="{BD04476F-1217-4C22-B560-D98554412E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89414" y="3728630"/>
                <a:ext cx="1449033" cy="997131"/>
              </a:xfrm>
              <a:custGeom>
                <a:avLst/>
                <a:gdLst>
                  <a:gd name="T0" fmla="*/ 122 w 124"/>
                  <a:gd name="T1" fmla="*/ 0 h 85"/>
                  <a:gd name="T2" fmla="*/ 0 w 124"/>
                  <a:gd name="T3" fmla="*/ 77 h 85"/>
                  <a:gd name="T4" fmla="*/ 34 w 124"/>
                  <a:gd name="T5" fmla="*/ 85 h 85"/>
                  <a:gd name="T6" fmla="*/ 124 w 124"/>
                  <a:gd name="T7" fmla="*/ 3 h 85"/>
                  <a:gd name="T8" fmla="*/ 122 w 124"/>
                  <a:gd name="T9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85">
                    <a:moveTo>
                      <a:pt x="122" y="0"/>
                    </a:moveTo>
                    <a:cubicBezTo>
                      <a:pt x="86" y="29"/>
                      <a:pt x="38" y="50"/>
                      <a:pt x="0" y="77"/>
                    </a:cubicBezTo>
                    <a:cubicBezTo>
                      <a:pt x="10" y="81"/>
                      <a:pt x="21" y="83"/>
                      <a:pt x="34" y="85"/>
                    </a:cubicBezTo>
                    <a:cubicBezTo>
                      <a:pt x="62" y="60"/>
                      <a:pt x="98" y="36"/>
                      <a:pt x="124" y="3"/>
                    </a:cubicBez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E67D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2" name="Freeform 51">
                <a:extLst>
                  <a:ext uri="{FF2B5EF4-FFF2-40B4-BE49-F238E27FC236}">
                    <a16:creationId xmlns:a16="http://schemas.microsoft.com/office/drawing/2014/main" id="{E6B71945-E4D0-4F48-BEF4-601536D388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87284" y="3763014"/>
                <a:ext cx="1164138" cy="1011867"/>
              </a:xfrm>
              <a:custGeom>
                <a:avLst/>
                <a:gdLst>
                  <a:gd name="T0" fmla="*/ 100 w 100"/>
                  <a:gd name="T1" fmla="*/ 12 h 86"/>
                  <a:gd name="T2" fmla="*/ 98 w 100"/>
                  <a:gd name="T3" fmla="*/ 12 h 86"/>
                  <a:gd name="T4" fmla="*/ 90 w 100"/>
                  <a:gd name="T5" fmla="*/ 0 h 86"/>
                  <a:gd name="T6" fmla="*/ 0 w 100"/>
                  <a:gd name="T7" fmla="*/ 82 h 86"/>
                  <a:gd name="T8" fmla="*/ 92 w 100"/>
                  <a:gd name="T9" fmla="*/ 76 h 86"/>
                  <a:gd name="T10" fmla="*/ 100 w 100"/>
                  <a:gd name="T11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0" h="86">
                    <a:moveTo>
                      <a:pt x="100" y="12"/>
                    </a:moveTo>
                    <a:cubicBezTo>
                      <a:pt x="98" y="12"/>
                      <a:pt x="98" y="12"/>
                      <a:pt x="98" y="12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64" y="33"/>
                      <a:pt x="28" y="57"/>
                      <a:pt x="0" y="82"/>
                    </a:cubicBezTo>
                    <a:cubicBezTo>
                      <a:pt x="33" y="86"/>
                      <a:pt x="66" y="86"/>
                      <a:pt x="92" y="76"/>
                    </a:cubicBezTo>
                    <a:cubicBezTo>
                      <a:pt x="90" y="55"/>
                      <a:pt x="96" y="36"/>
                      <a:pt x="100" y="12"/>
                    </a:cubicBezTo>
                    <a:close/>
                  </a:path>
                </a:pathLst>
              </a:custGeom>
              <a:solidFill>
                <a:srgbClr val="6823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3" name="Freeform 52">
                <a:extLst>
                  <a:ext uri="{FF2B5EF4-FFF2-40B4-BE49-F238E27FC236}">
                    <a16:creationId xmlns:a16="http://schemas.microsoft.com/office/drawing/2014/main" id="{8D7B9761-0AE1-4265-9789-47BDC6ED6D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38447" y="3905462"/>
                <a:ext cx="392958" cy="751532"/>
              </a:xfrm>
              <a:custGeom>
                <a:avLst/>
                <a:gdLst>
                  <a:gd name="T0" fmla="*/ 21 w 34"/>
                  <a:gd name="T1" fmla="*/ 0 h 64"/>
                  <a:gd name="T2" fmla="*/ 10 w 34"/>
                  <a:gd name="T3" fmla="*/ 0 h 64"/>
                  <a:gd name="T4" fmla="*/ 2 w 34"/>
                  <a:gd name="T5" fmla="*/ 64 h 64"/>
                  <a:gd name="T6" fmla="*/ 34 w 34"/>
                  <a:gd name="T7" fmla="*/ 41 h 64"/>
                  <a:gd name="T8" fmla="*/ 21 w 34"/>
                  <a:gd name="T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4">
                    <a:moveTo>
                      <a:pt x="2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6" y="24"/>
                      <a:pt x="0" y="43"/>
                      <a:pt x="2" y="64"/>
                    </a:cubicBezTo>
                    <a:cubicBezTo>
                      <a:pt x="17" y="59"/>
                      <a:pt x="26" y="53"/>
                      <a:pt x="34" y="41"/>
                    </a:cubicBezTo>
                    <a:cubicBezTo>
                      <a:pt x="26" y="26"/>
                      <a:pt x="24" y="13"/>
                      <a:pt x="21" y="0"/>
                    </a:cubicBezTo>
                    <a:close/>
                  </a:path>
                </a:pathLst>
              </a:custGeom>
              <a:solidFill>
                <a:srgbClr val="2BA9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4" name="Freeform 53">
                <a:extLst>
                  <a:ext uri="{FF2B5EF4-FFF2-40B4-BE49-F238E27FC236}">
                    <a16:creationId xmlns:a16="http://schemas.microsoft.com/office/drawing/2014/main" id="{60DF468A-31EC-4E6E-B0A3-088566ED11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9134" y="3871078"/>
                <a:ext cx="284895" cy="515757"/>
              </a:xfrm>
              <a:custGeom>
                <a:avLst/>
                <a:gdLst>
                  <a:gd name="T0" fmla="*/ 9 w 24"/>
                  <a:gd name="T1" fmla="*/ 0 h 44"/>
                  <a:gd name="T2" fmla="*/ 9 w 24"/>
                  <a:gd name="T3" fmla="*/ 3 h 44"/>
                  <a:gd name="T4" fmla="*/ 0 w 24"/>
                  <a:gd name="T5" fmla="*/ 3 h 44"/>
                  <a:gd name="T6" fmla="*/ 13 w 24"/>
                  <a:gd name="T7" fmla="*/ 44 h 44"/>
                  <a:gd name="T8" fmla="*/ 24 w 24"/>
                  <a:gd name="T9" fmla="*/ 22 h 44"/>
                  <a:gd name="T10" fmla="*/ 9 w 24"/>
                  <a:gd name="T11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44">
                    <a:moveTo>
                      <a:pt x="9" y="0"/>
                    </a:moveTo>
                    <a:cubicBezTo>
                      <a:pt x="9" y="3"/>
                      <a:pt x="9" y="3"/>
                      <a:pt x="9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3" y="16"/>
                      <a:pt x="5" y="29"/>
                      <a:pt x="13" y="44"/>
                    </a:cubicBezTo>
                    <a:cubicBezTo>
                      <a:pt x="17" y="38"/>
                      <a:pt x="21" y="30"/>
                      <a:pt x="24" y="22"/>
                    </a:cubicBezTo>
                    <a:cubicBezTo>
                      <a:pt x="17" y="13"/>
                      <a:pt x="13" y="6"/>
                      <a:pt x="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5" name="Freeform 54">
                <a:extLst>
                  <a:ext uri="{FF2B5EF4-FFF2-40B4-BE49-F238E27FC236}">
                    <a16:creationId xmlns:a16="http://schemas.microsoft.com/office/drawing/2014/main" id="{518F7AEB-8E6F-46CF-9987-F1AA796932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87198" y="3212873"/>
                <a:ext cx="279983" cy="913627"/>
              </a:xfrm>
              <a:custGeom>
                <a:avLst/>
                <a:gdLst>
                  <a:gd name="T0" fmla="*/ 23 w 24"/>
                  <a:gd name="T1" fmla="*/ 0 h 78"/>
                  <a:gd name="T2" fmla="*/ 0 w 24"/>
                  <a:gd name="T3" fmla="*/ 21 h 78"/>
                  <a:gd name="T4" fmla="*/ 0 w 24"/>
                  <a:gd name="T5" fmla="*/ 56 h 78"/>
                  <a:gd name="T6" fmla="*/ 15 w 24"/>
                  <a:gd name="T7" fmla="*/ 78 h 78"/>
                  <a:gd name="T8" fmla="*/ 23 w 24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78">
                    <a:moveTo>
                      <a:pt x="23" y="0"/>
                    </a:moveTo>
                    <a:cubicBezTo>
                      <a:pt x="13" y="5"/>
                      <a:pt x="8" y="13"/>
                      <a:pt x="0" y="21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4" y="62"/>
                      <a:pt x="8" y="69"/>
                      <a:pt x="15" y="78"/>
                    </a:cubicBezTo>
                    <a:cubicBezTo>
                      <a:pt x="22" y="55"/>
                      <a:pt x="24" y="29"/>
                      <a:pt x="23" y="0"/>
                    </a:cubicBezTo>
                    <a:close/>
                  </a:path>
                </a:pathLst>
              </a:custGeom>
              <a:solidFill>
                <a:srgbClr val="0790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6" name="Freeform 55">
                <a:extLst>
                  <a:ext uri="{FF2B5EF4-FFF2-40B4-BE49-F238E27FC236}">
                    <a16:creationId xmlns:a16="http://schemas.microsoft.com/office/drawing/2014/main" id="{D1D33BE6-0CF9-4CDE-8644-524932BD97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87198" y="3080250"/>
                <a:ext cx="270159" cy="378222"/>
              </a:xfrm>
              <a:custGeom>
                <a:avLst/>
                <a:gdLst>
                  <a:gd name="T0" fmla="*/ 22 w 23"/>
                  <a:gd name="T1" fmla="*/ 0 h 32"/>
                  <a:gd name="T2" fmla="*/ 0 w 23"/>
                  <a:gd name="T3" fmla="*/ 27 h 32"/>
                  <a:gd name="T4" fmla="*/ 0 w 23"/>
                  <a:gd name="T5" fmla="*/ 32 h 32"/>
                  <a:gd name="T6" fmla="*/ 23 w 23"/>
                  <a:gd name="T7" fmla="*/ 11 h 32"/>
                  <a:gd name="T8" fmla="*/ 22 w 23"/>
                  <a:gd name="T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32">
                    <a:moveTo>
                      <a:pt x="22" y="0"/>
                    </a:moveTo>
                    <a:cubicBezTo>
                      <a:pt x="13" y="7"/>
                      <a:pt x="7" y="17"/>
                      <a:pt x="0" y="27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8" y="24"/>
                      <a:pt x="13" y="16"/>
                      <a:pt x="23" y="11"/>
                    </a:cubicBezTo>
                    <a:cubicBezTo>
                      <a:pt x="23" y="7"/>
                      <a:pt x="23" y="4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7" name="Freeform 56">
                <a:extLst>
                  <a:ext uri="{FF2B5EF4-FFF2-40B4-BE49-F238E27FC236}">
                    <a16:creationId xmlns:a16="http://schemas.microsoft.com/office/drawing/2014/main" id="{83639A86-FCC0-44ED-BD9F-68310B3205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87198" y="2849387"/>
                <a:ext cx="255423" cy="550141"/>
              </a:xfrm>
              <a:custGeom>
                <a:avLst/>
                <a:gdLst>
                  <a:gd name="T0" fmla="*/ 19 w 22"/>
                  <a:gd name="T1" fmla="*/ 0 h 47"/>
                  <a:gd name="T2" fmla="*/ 0 w 22"/>
                  <a:gd name="T3" fmla="*/ 35 h 47"/>
                  <a:gd name="T4" fmla="*/ 0 w 22"/>
                  <a:gd name="T5" fmla="*/ 47 h 47"/>
                  <a:gd name="T6" fmla="*/ 22 w 22"/>
                  <a:gd name="T7" fmla="*/ 20 h 47"/>
                  <a:gd name="T8" fmla="*/ 19 w 22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47">
                    <a:moveTo>
                      <a:pt x="19" y="0"/>
                    </a:moveTo>
                    <a:cubicBezTo>
                      <a:pt x="10" y="10"/>
                      <a:pt x="6" y="23"/>
                      <a:pt x="0" y="35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7" y="37"/>
                      <a:pt x="13" y="27"/>
                      <a:pt x="22" y="20"/>
                    </a:cubicBezTo>
                    <a:cubicBezTo>
                      <a:pt x="22" y="13"/>
                      <a:pt x="21" y="6"/>
                      <a:pt x="19" y="0"/>
                    </a:cubicBezTo>
                    <a:close/>
                  </a:path>
                </a:pathLst>
              </a:custGeom>
              <a:solidFill>
                <a:srgbClr val="E951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8" name="Freeform 57">
                <a:extLst>
                  <a:ext uri="{FF2B5EF4-FFF2-40B4-BE49-F238E27FC236}">
                    <a16:creationId xmlns:a16="http://schemas.microsoft.com/office/drawing/2014/main" id="{6B95D753-3272-459B-B3CF-CAB7780D7B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9134" y="2412221"/>
                <a:ext cx="329102" cy="844860"/>
              </a:xfrm>
              <a:custGeom>
                <a:avLst/>
                <a:gdLst>
                  <a:gd name="T0" fmla="*/ 9 w 28"/>
                  <a:gd name="T1" fmla="*/ 72 h 72"/>
                  <a:gd name="T2" fmla="*/ 28 w 28"/>
                  <a:gd name="T3" fmla="*/ 37 h 72"/>
                  <a:gd name="T4" fmla="*/ 28 w 28"/>
                  <a:gd name="T5" fmla="*/ 35 h 72"/>
                  <a:gd name="T6" fmla="*/ 11 w 28"/>
                  <a:gd name="T7" fmla="*/ 0 h 72"/>
                  <a:gd name="T8" fmla="*/ 0 w 28"/>
                  <a:gd name="T9" fmla="*/ 45 h 72"/>
                  <a:gd name="T10" fmla="*/ 9 w 28"/>
                  <a:gd name="T11" fmla="*/ 45 h 72"/>
                  <a:gd name="T12" fmla="*/ 9 w 28"/>
                  <a:gd name="T13" fmla="*/ 70 h 72"/>
                  <a:gd name="T14" fmla="*/ 9 w 28"/>
                  <a:gd name="T15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72">
                    <a:moveTo>
                      <a:pt x="9" y="72"/>
                    </a:moveTo>
                    <a:cubicBezTo>
                      <a:pt x="15" y="60"/>
                      <a:pt x="19" y="47"/>
                      <a:pt x="28" y="37"/>
                    </a:cubicBezTo>
                    <a:cubicBezTo>
                      <a:pt x="28" y="36"/>
                      <a:pt x="28" y="36"/>
                      <a:pt x="28" y="35"/>
                    </a:cubicBezTo>
                    <a:cubicBezTo>
                      <a:pt x="24" y="20"/>
                      <a:pt x="19" y="9"/>
                      <a:pt x="11" y="0"/>
                    </a:cubicBezTo>
                    <a:cubicBezTo>
                      <a:pt x="5" y="13"/>
                      <a:pt x="2" y="29"/>
                      <a:pt x="0" y="45"/>
                    </a:cubicBezTo>
                    <a:cubicBezTo>
                      <a:pt x="9" y="45"/>
                      <a:pt x="9" y="45"/>
                      <a:pt x="9" y="45"/>
                    </a:cubicBezTo>
                    <a:cubicBezTo>
                      <a:pt x="9" y="70"/>
                      <a:pt x="9" y="70"/>
                      <a:pt x="9" y="70"/>
                    </a:cubicBezTo>
                    <a:lnTo>
                      <a:pt x="9" y="72"/>
                    </a:lnTo>
                    <a:close/>
                  </a:path>
                </a:pathLst>
              </a:custGeom>
              <a:solidFill>
                <a:srgbClr val="0C2C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9" name="Freeform 58">
                <a:extLst>
                  <a:ext uri="{FF2B5EF4-FFF2-40B4-BE49-F238E27FC236}">
                    <a16:creationId xmlns:a16="http://schemas.microsoft.com/office/drawing/2014/main" id="{3115709C-2324-4D4B-A00E-2A4FEE81D1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00543" y="2294334"/>
                <a:ext cx="211215" cy="648381"/>
              </a:xfrm>
              <a:custGeom>
                <a:avLst/>
                <a:gdLst>
                  <a:gd name="T0" fmla="*/ 7 w 18"/>
                  <a:gd name="T1" fmla="*/ 55 h 55"/>
                  <a:gd name="T2" fmla="*/ 18 w 18"/>
                  <a:gd name="T3" fmla="*/ 10 h 55"/>
                  <a:gd name="T4" fmla="*/ 6 w 18"/>
                  <a:gd name="T5" fmla="*/ 0 h 55"/>
                  <a:gd name="T6" fmla="*/ 0 w 18"/>
                  <a:gd name="T7" fmla="*/ 55 h 55"/>
                  <a:gd name="T8" fmla="*/ 7 w 18"/>
                  <a:gd name="T9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55">
                    <a:moveTo>
                      <a:pt x="7" y="55"/>
                    </a:moveTo>
                    <a:cubicBezTo>
                      <a:pt x="9" y="39"/>
                      <a:pt x="12" y="23"/>
                      <a:pt x="18" y="10"/>
                    </a:cubicBezTo>
                    <a:cubicBezTo>
                      <a:pt x="14" y="6"/>
                      <a:pt x="10" y="3"/>
                      <a:pt x="6" y="0"/>
                    </a:cubicBezTo>
                    <a:cubicBezTo>
                      <a:pt x="1" y="15"/>
                      <a:pt x="0" y="35"/>
                      <a:pt x="0" y="55"/>
                    </a:cubicBezTo>
                    <a:lnTo>
                      <a:pt x="7" y="55"/>
                    </a:lnTo>
                    <a:close/>
                  </a:path>
                </a:pathLst>
              </a:custGeom>
              <a:solidFill>
                <a:srgbClr val="4DB3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0" name="Freeform 59">
                <a:extLst>
                  <a:ext uri="{FF2B5EF4-FFF2-40B4-BE49-F238E27FC236}">
                    <a16:creationId xmlns:a16="http://schemas.microsoft.com/office/drawing/2014/main" id="{2AD17AF8-B0C2-48FA-BEFC-3C801213AE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6159" y="2259950"/>
                <a:ext cx="58944" cy="682764"/>
              </a:xfrm>
              <a:custGeom>
                <a:avLst/>
                <a:gdLst>
                  <a:gd name="T0" fmla="*/ 2 w 5"/>
                  <a:gd name="T1" fmla="*/ 58 h 58"/>
                  <a:gd name="T2" fmla="*/ 5 w 5"/>
                  <a:gd name="T3" fmla="*/ 1 h 58"/>
                  <a:gd name="T4" fmla="*/ 4 w 5"/>
                  <a:gd name="T5" fmla="*/ 0 h 58"/>
                  <a:gd name="T6" fmla="*/ 1 w 5"/>
                  <a:gd name="T7" fmla="*/ 58 h 58"/>
                  <a:gd name="T8" fmla="*/ 2 w 5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8">
                    <a:moveTo>
                      <a:pt x="2" y="58"/>
                    </a:moveTo>
                    <a:cubicBezTo>
                      <a:pt x="1" y="37"/>
                      <a:pt x="1" y="16"/>
                      <a:pt x="5" y="1"/>
                    </a:cubicBezTo>
                    <a:cubicBezTo>
                      <a:pt x="4" y="0"/>
                      <a:pt x="5" y="1"/>
                      <a:pt x="4" y="0"/>
                    </a:cubicBezTo>
                    <a:cubicBezTo>
                      <a:pt x="0" y="16"/>
                      <a:pt x="0" y="36"/>
                      <a:pt x="1" y="58"/>
                    </a:cubicBezTo>
                    <a:lnTo>
                      <a:pt x="2" y="58"/>
                    </a:lnTo>
                    <a:close/>
                  </a:path>
                </a:pathLst>
              </a:custGeom>
              <a:solidFill>
                <a:srgbClr val="0C2C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1" name="Freeform 60">
                <a:extLst>
                  <a:ext uri="{FF2B5EF4-FFF2-40B4-BE49-F238E27FC236}">
                    <a16:creationId xmlns:a16="http://schemas.microsoft.com/office/drawing/2014/main" id="{36976D29-49D0-4FA4-9AC5-61EB4B1F72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655" y="2225566"/>
                <a:ext cx="127711" cy="1080634"/>
              </a:xfrm>
              <a:custGeom>
                <a:avLst/>
                <a:gdLst>
                  <a:gd name="T0" fmla="*/ 8 w 11"/>
                  <a:gd name="T1" fmla="*/ 61 h 92"/>
                  <a:gd name="T2" fmla="*/ 8 w 11"/>
                  <a:gd name="T3" fmla="*/ 61 h 92"/>
                  <a:gd name="T4" fmla="*/ 11 w 11"/>
                  <a:gd name="T5" fmla="*/ 3 h 92"/>
                  <a:gd name="T6" fmla="*/ 4 w 11"/>
                  <a:gd name="T7" fmla="*/ 0 h 92"/>
                  <a:gd name="T8" fmla="*/ 8 w 11"/>
                  <a:gd name="T9" fmla="*/ 92 h 92"/>
                  <a:gd name="T10" fmla="*/ 8 w 11"/>
                  <a:gd name="T11" fmla="*/ 61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92">
                    <a:moveTo>
                      <a:pt x="8" y="61"/>
                    </a:moveTo>
                    <a:cubicBezTo>
                      <a:pt x="8" y="61"/>
                      <a:pt x="8" y="61"/>
                      <a:pt x="8" y="61"/>
                    </a:cubicBezTo>
                    <a:cubicBezTo>
                      <a:pt x="7" y="39"/>
                      <a:pt x="7" y="19"/>
                      <a:pt x="11" y="3"/>
                    </a:cubicBezTo>
                    <a:cubicBezTo>
                      <a:pt x="9" y="2"/>
                      <a:pt x="6" y="1"/>
                      <a:pt x="4" y="0"/>
                    </a:cubicBezTo>
                    <a:cubicBezTo>
                      <a:pt x="0" y="23"/>
                      <a:pt x="6" y="59"/>
                      <a:pt x="8" y="92"/>
                    </a:cubicBezTo>
                    <a:lnTo>
                      <a:pt x="8" y="61"/>
                    </a:lnTo>
                    <a:close/>
                  </a:path>
                </a:pathLst>
              </a:custGeom>
              <a:solidFill>
                <a:srgbClr val="4DB3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2" name="Freeform 61">
                <a:extLst>
                  <a:ext uri="{FF2B5EF4-FFF2-40B4-BE49-F238E27FC236}">
                    <a16:creationId xmlns:a16="http://schemas.microsoft.com/office/drawing/2014/main" id="{ADADA660-B6EE-4481-B5B4-EEBE0110D5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64768" y="2166623"/>
                <a:ext cx="211215" cy="1409737"/>
              </a:xfrm>
              <a:custGeom>
                <a:avLst/>
                <a:gdLst>
                  <a:gd name="T0" fmla="*/ 18 w 18"/>
                  <a:gd name="T1" fmla="*/ 108 h 120"/>
                  <a:gd name="T2" fmla="*/ 18 w 18"/>
                  <a:gd name="T3" fmla="*/ 97 h 120"/>
                  <a:gd name="T4" fmla="*/ 14 w 18"/>
                  <a:gd name="T5" fmla="*/ 5 h 120"/>
                  <a:gd name="T6" fmla="*/ 0 w 18"/>
                  <a:gd name="T7" fmla="*/ 0 h 120"/>
                  <a:gd name="T8" fmla="*/ 18 w 18"/>
                  <a:gd name="T9" fmla="*/ 120 h 120"/>
                  <a:gd name="T10" fmla="*/ 18 w 18"/>
                  <a:gd name="T11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20">
                    <a:moveTo>
                      <a:pt x="18" y="108"/>
                    </a:moveTo>
                    <a:cubicBezTo>
                      <a:pt x="18" y="97"/>
                      <a:pt x="18" y="97"/>
                      <a:pt x="18" y="97"/>
                    </a:cubicBezTo>
                    <a:cubicBezTo>
                      <a:pt x="16" y="64"/>
                      <a:pt x="10" y="28"/>
                      <a:pt x="14" y="5"/>
                    </a:cubicBezTo>
                    <a:cubicBezTo>
                      <a:pt x="9" y="3"/>
                      <a:pt x="5" y="2"/>
                      <a:pt x="0" y="0"/>
                    </a:cubicBezTo>
                    <a:cubicBezTo>
                      <a:pt x="0" y="30"/>
                      <a:pt x="16" y="80"/>
                      <a:pt x="18" y="120"/>
                    </a:cubicBezTo>
                    <a:cubicBezTo>
                      <a:pt x="18" y="117"/>
                      <a:pt x="18" y="111"/>
                      <a:pt x="18" y="108"/>
                    </a:cubicBezTo>
                    <a:close/>
                  </a:path>
                </a:pathLst>
              </a:custGeom>
              <a:solidFill>
                <a:srgbClr val="1961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3" name="Freeform 62">
                <a:extLst>
                  <a:ext uri="{FF2B5EF4-FFF2-40B4-BE49-F238E27FC236}">
                    <a16:creationId xmlns:a16="http://schemas.microsoft.com/office/drawing/2014/main" id="{55A5A17A-0685-4BCF-AEC1-64A98D24CF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83763" y="2083119"/>
                <a:ext cx="992219" cy="1493240"/>
              </a:xfrm>
              <a:custGeom>
                <a:avLst/>
                <a:gdLst>
                  <a:gd name="T0" fmla="*/ 85 w 85"/>
                  <a:gd name="T1" fmla="*/ 127 h 127"/>
                  <a:gd name="T2" fmla="*/ 29 w 85"/>
                  <a:gd name="T3" fmla="*/ 1 h 127"/>
                  <a:gd name="T4" fmla="*/ 0 w 85"/>
                  <a:gd name="T5" fmla="*/ 1 h 127"/>
                  <a:gd name="T6" fmla="*/ 81 w 85"/>
                  <a:gd name="T7" fmla="*/ 121 h 127"/>
                  <a:gd name="T8" fmla="*/ 85 w 85"/>
                  <a:gd name="T9" fmla="*/ 1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127">
                    <a:moveTo>
                      <a:pt x="85" y="127"/>
                    </a:moveTo>
                    <a:cubicBezTo>
                      <a:pt x="71" y="84"/>
                      <a:pt x="45" y="31"/>
                      <a:pt x="29" y="1"/>
                    </a:cubicBezTo>
                    <a:cubicBezTo>
                      <a:pt x="19" y="1"/>
                      <a:pt x="10" y="0"/>
                      <a:pt x="0" y="1"/>
                    </a:cubicBezTo>
                    <a:cubicBezTo>
                      <a:pt x="26" y="30"/>
                      <a:pt x="60" y="78"/>
                      <a:pt x="81" y="121"/>
                    </a:cubicBezTo>
                    <a:cubicBezTo>
                      <a:pt x="83" y="123"/>
                      <a:pt x="84" y="126"/>
                      <a:pt x="85" y="127"/>
                    </a:cubicBezTo>
                    <a:close/>
                  </a:path>
                </a:pathLst>
              </a:custGeom>
              <a:solidFill>
                <a:srgbClr val="E67D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4" name="Freeform 63">
                <a:extLst>
                  <a:ext uri="{FF2B5EF4-FFF2-40B4-BE49-F238E27FC236}">
                    <a16:creationId xmlns:a16="http://schemas.microsoft.com/office/drawing/2014/main" id="{D8537357-84EB-4FA3-A2EE-8FA8A85C8D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9556" y="2097855"/>
                <a:ext cx="992219" cy="1409737"/>
              </a:xfrm>
              <a:custGeom>
                <a:avLst/>
                <a:gdLst>
                  <a:gd name="T0" fmla="*/ 4 w 85"/>
                  <a:gd name="T1" fmla="*/ 0 h 120"/>
                  <a:gd name="T2" fmla="*/ 0 w 85"/>
                  <a:gd name="T3" fmla="*/ 0 h 120"/>
                  <a:gd name="T4" fmla="*/ 56 w 85"/>
                  <a:gd name="T5" fmla="*/ 72 h 120"/>
                  <a:gd name="T6" fmla="*/ 56 w 85"/>
                  <a:gd name="T7" fmla="*/ 72 h 120"/>
                  <a:gd name="T8" fmla="*/ 61 w 85"/>
                  <a:gd name="T9" fmla="*/ 81 h 120"/>
                  <a:gd name="T10" fmla="*/ 61 w 85"/>
                  <a:gd name="T11" fmla="*/ 81 h 120"/>
                  <a:gd name="T12" fmla="*/ 79 w 85"/>
                  <a:gd name="T13" fmla="*/ 109 h 120"/>
                  <a:gd name="T14" fmla="*/ 79 w 85"/>
                  <a:gd name="T15" fmla="*/ 109 h 120"/>
                  <a:gd name="T16" fmla="*/ 82 w 85"/>
                  <a:gd name="T17" fmla="*/ 113 h 120"/>
                  <a:gd name="T18" fmla="*/ 85 w 85"/>
                  <a:gd name="T19" fmla="*/ 120 h 120"/>
                  <a:gd name="T20" fmla="*/ 4 w 85"/>
                  <a:gd name="T21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" h="120">
                    <a:moveTo>
                      <a:pt x="4" y="0"/>
                    </a:moveTo>
                    <a:cubicBezTo>
                      <a:pt x="3" y="0"/>
                      <a:pt x="1" y="0"/>
                      <a:pt x="0" y="0"/>
                    </a:cubicBezTo>
                    <a:cubicBezTo>
                      <a:pt x="17" y="19"/>
                      <a:pt x="37" y="45"/>
                      <a:pt x="56" y="72"/>
                    </a:cubicBezTo>
                    <a:cubicBezTo>
                      <a:pt x="56" y="72"/>
                      <a:pt x="56" y="72"/>
                      <a:pt x="56" y="72"/>
                    </a:cubicBezTo>
                    <a:cubicBezTo>
                      <a:pt x="61" y="81"/>
                      <a:pt x="61" y="81"/>
                      <a:pt x="61" y="81"/>
                    </a:cubicBezTo>
                    <a:cubicBezTo>
                      <a:pt x="61" y="81"/>
                      <a:pt x="61" y="81"/>
                      <a:pt x="61" y="81"/>
                    </a:cubicBezTo>
                    <a:cubicBezTo>
                      <a:pt x="79" y="109"/>
                      <a:pt x="79" y="109"/>
                      <a:pt x="79" y="109"/>
                    </a:cubicBezTo>
                    <a:cubicBezTo>
                      <a:pt x="79" y="109"/>
                      <a:pt x="79" y="109"/>
                      <a:pt x="79" y="109"/>
                    </a:cubicBezTo>
                    <a:cubicBezTo>
                      <a:pt x="82" y="113"/>
                      <a:pt x="82" y="113"/>
                      <a:pt x="82" y="113"/>
                    </a:cubicBezTo>
                    <a:cubicBezTo>
                      <a:pt x="83" y="115"/>
                      <a:pt x="84" y="117"/>
                      <a:pt x="85" y="120"/>
                    </a:cubicBezTo>
                    <a:cubicBezTo>
                      <a:pt x="64" y="77"/>
                      <a:pt x="30" y="29"/>
                      <a:pt x="4" y="0"/>
                    </a:cubicBezTo>
                    <a:close/>
                  </a:path>
                </a:pathLst>
              </a:custGeom>
              <a:solidFill>
                <a:srgbClr val="6823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5" name="Freeform 64">
                <a:extLst>
                  <a:ext uri="{FF2B5EF4-FFF2-40B4-BE49-F238E27FC236}">
                    <a16:creationId xmlns:a16="http://schemas.microsoft.com/office/drawing/2014/main" id="{48568332-9608-4452-BA73-854F2B796D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6052" y="2097855"/>
                <a:ext cx="736796" cy="844860"/>
              </a:xfrm>
              <a:custGeom>
                <a:avLst/>
                <a:gdLst>
                  <a:gd name="T0" fmla="*/ 63 w 63"/>
                  <a:gd name="T1" fmla="*/ 72 h 72"/>
                  <a:gd name="T2" fmla="*/ 7 w 63"/>
                  <a:gd name="T3" fmla="*/ 0 h 72"/>
                  <a:gd name="T4" fmla="*/ 0 w 63"/>
                  <a:gd name="T5" fmla="*/ 0 h 72"/>
                  <a:gd name="T6" fmla="*/ 60 w 63"/>
                  <a:gd name="T7" fmla="*/ 72 h 72"/>
                  <a:gd name="T8" fmla="*/ 63 w 63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72">
                    <a:moveTo>
                      <a:pt x="63" y="72"/>
                    </a:moveTo>
                    <a:cubicBezTo>
                      <a:pt x="44" y="45"/>
                      <a:pt x="24" y="19"/>
                      <a:pt x="7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18" y="19"/>
                      <a:pt x="40" y="45"/>
                      <a:pt x="60" y="72"/>
                    </a:cubicBezTo>
                    <a:lnTo>
                      <a:pt x="63" y="72"/>
                    </a:lnTo>
                    <a:close/>
                  </a:path>
                </a:pathLst>
              </a:custGeom>
              <a:solidFill>
                <a:srgbClr val="2BA9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6" name="Freeform 65">
                <a:extLst>
                  <a:ext uri="{FF2B5EF4-FFF2-40B4-BE49-F238E27FC236}">
                    <a16:creationId xmlns:a16="http://schemas.microsoft.com/office/drawing/2014/main" id="{00128190-70E2-4C64-9CA2-313ECD5FDE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9397" y="2097855"/>
                <a:ext cx="889068" cy="844860"/>
              </a:xfrm>
              <a:custGeom>
                <a:avLst/>
                <a:gdLst>
                  <a:gd name="T0" fmla="*/ 76 w 76"/>
                  <a:gd name="T1" fmla="*/ 72 h 72"/>
                  <a:gd name="T2" fmla="*/ 16 w 76"/>
                  <a:gd name="T3" fmla="*/ 0 h 72"/>
                  <a:gd name="T4" fmla="*/ 0 w 76"/>
                  <a:gd name="T5" fmla="*/ 2 h 72"/>
                  <a:gd name="T6" fmla="*/ 68 w 76"/>
                  <a:gd name="T7" fmla="*/ 72 h 72"/>
                  <a:gd name="T8" fmla="*/ 76 w 76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72">
                    <a:moveTo>
                      <a:pt x="76" y="72"/>
                    </a:moveTo>
                    <a:cubicBezTo>
                      <a:pt x="56" y="45"/>
                      <a:pt x="34" y="19"/>
                      <a:pt x="16" y="0"/>
                    </a:cubicBezTo>
                    <a:cubicBezTo>
                      <a:pt x="10" y="1"/>
                      <a:pt x="5" y="1"/>
                      <a:pt x="0" y="2"/>
                    </a:cubicBezTo>
                    <a:cubicBezTo>
                      <a:pt x="21" y="21"/>
                      <a:pt x="46" y="46"/>
                      <a:pt x="68" y="72"/>
                    </a:cubicBezTo>
                    <a:lnTo>
                      <a:pt x="76" y="72"/>
                    </a:lnTo>
                    <a:close/>
                  </a:path>
                </a:pathLst>
              </a:custGeom>
              <a:solidFill>
                <a:srgbClr val="0790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7" name="Freeform 66">
                <a:extLst>
                  <a:ext uri="{FF2B5EF4-FFF2-40B4-BE49-F238E27FC236}">
                    <a16:creationId xmlns:a16="http://schemas.microsoft.com/office/drawing/2014/main" id="{27D5BC3D-7113-4BB2-A90C-04B38A8D5F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89414" y="2117503"/>
                <a:ext cx="1075723" cy="859596"/>
              </a:xfrm>
              <a:custGeom>
                <a:avLst/>
                <a:gdLst>
                  <a:gd name="T0" fmla="*/ 81 w 92"/>
                  <a:gd name="T1" fmla="*/ 70 h 73"/>
                  <a:gd name="T2" fmla="*/ 92 w 92"/>
                  <a:gd name="T3" fmla="*/ 70 h 73"/>
                  <a:gd name="T4" fmla="*/ 24 w 92"/>
                  <a:gd name="T5" fmla="*/ 0 h 73"/>
                  <a:gd name="T6" fmla="*/ 0 w 92"/>
                  <a:gd name="T7" fmla="*/ 6 h 73"/>
                  <a:gd name="T8" fmla="*/ 81 w 92"/>
                  <a:gd name="T9" fmla="*/ 73 h 73"/>
                  <a:gd name="T10" fmla="*/ 81 w 92"/>
                  <a:gd name="T11" fmla="*/ 7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" h="73">
                    <a:moveTo>
                      <a:pt x="81" y="70"/>
                    </a:moveTo>
                    <a:cubicBezTo>
                      <a:pt x="92" y="70"/>
                      <a:pt x="92" y="70"/>
                      <a:pt x="92" y="70"/>
                    </a:cubicBezTo>
                    <a:cubicBezTo>
                      <a:pt x="70" y="44"/>
                      <a:pt x="45" y="19"/>
                      <a:pt x="24" y="0"/>
                    </a:cubicBezTo>
                    <a:cubicBezTo>
                      <a:pt x="15" y="1"/>
                      <a:pt x="7" y="3"/>
                      <a:pt x="0" y="6"/>
                    </a:cubicBezTo>
                    <a:cubicBezTo>
                      <a:pt x="25" y="26"/>
                      <a:pt x="54" y="49"/>
                      <a:pt x="81" y="73"/>
                    </a:cubicBezTo>
                    <a:lnTo>
                      <a:pt x="81" y="7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8" name="Freeform 67">
                <a:extLst>
                  <a:ext uri="{FF2B5EF4-FFF2-40B4-BE49-F238E27FC236}">
                    <a16:creationId xmlns:a16="http://schemas.microsoft.com/office/drawing/2014/main" id="{27515B16-B25B-4A8F-9923-160BD452E6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12583" y="2191182"/>
                <a:ext cx="1119931" cy="903803"/>
              </a:xfrm>
              <a:custGeom>
                <a:avLst/>
                <a:gdLst>
                  <a:gd name="T0" fmla="*/ 96 w 96"/>
                  <a:gd name="T1" fmla="*/ 67 h 77"/>
                  <a:gd name="T2" fmla="*/ 15 w 96"/>
                  <a:gd name="T3" fmla="*/ 0 h 77"/>
                  <a:gd name="T4" fmla="*/ 0 w 96"/>
                  <a:gd name="T5" fmla="*/ 8 h 77"/>
                  <a:gd name="T6" fmla="*/ 96 w 96"/>
                  <a:gd name="T7" fmla="*/ 77 h 77"/>
                  <a:gd name="T8" fmla="*/ 96 w 96"/>
                  <a:gd name="T9" fmla="*/ 6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77">
                    <a:moveTo>
                      <a:pt x="96" y="67"/>
                    </a:moveTo>
                    <a:cubicBezTo>
                      <a:pt x="69" y="43"/>
                      <a:pt x="40" y="20"/>
                      <a:pt x="15" y="0"/>
                    </a:cubicBezTo>
                    <a:cubicBezTo>
                      <a:pt x="9" y="2"/>
                      <a:pt x="4" y="5"/>
                      <a:pt x="0" y="8"/>
                    </a:cubicBezTo>
                    <a:cubicBezTo>
                      <a:pt x="28" y="29"/>
                      <a:pt x="63" y="53"/>
                      <a:pt x="96" y="77"/>
                    </a:cubicBezTo>
                    <a:lnTo>
                      <a:pt x="96" y="67"/>
                    </a:lnTo>
                    <a:close/>
                  </a:path>
                </a:pathLst>
              </a:custGeom>
              <a:solidFill>
                <a:srgbClr val="E951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9" name="Freeform 68">
                <a:extLst>
                  <a:ext uri="{FF2B5EF4-FFF2-40B4-BE49-F238E27FC236}">
                    <a16:creationId xmlns:a16="http://schemas.microsoft.com/office/drawing/2014/main" id="{360E00DD-5E37-430F-A9E8-79077859E2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2759" y="2284510"/>
                <a:ext cx="1129755" cy="820300"/>
              </a:xfrm>
              <a:custGeom>
                <a:avLst/>
                <a:gdLst>
                  <a:gd name="T0" fmla="*/ 97 w 97"/>
                  <a:gd name="T1" fmla="*/ 69 h 70"/>
                  <a:gd name="T2" fmla="*/ 1 w 97"/>
                  <a:gd name="T3" fmla="*/ 0 h 70"/>
                  <a:gd name="T4" fmla="*/ 0 w 97"/>
                  <a:gd name="T5" fmla="*/ 1 h 70"/>
                  <a:gd name="T6" fmla="*/ 97 w 97"/>
                  <a:gd name="T7" fmla="*/ 70 h 70"/>
                  <a:gd name="T8" fmla="*/ 97 w 97"/>
                  <a:gd name="T9" fmla="*/ 6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70">
                    <a:moveTo>
                      <a:pt x="97" y="69"/>
                    </a:moveTo>
                    <a:cubicBezTo>
                      <a:pt x="64" y="45"/>
                      <a:pt x="29" y="21"/>
                      <a:pt x="1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8" y="22"/>
                      <a:pt x="64" y="46"/>
                      <a:pt x="97" y="70"/>
                    </a:cubicBezTo>
                    <a:lnTo>
                      <a:pt x="97" y="69"/>
                    </a:lnTo>
                    <a:close/>
                  </a:path>
                </a:pathLst>
              </a:custGeom>
              <a:solidFill>
                <a:srgbClr val="0C2C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0" name="Freeform 69">
                <a:extLst>
                  <a:ext uri="{FF2B5EF4-FFF2-40B4-BE49-F238E27FC236}">
                    <a16:creationId xmlns:a16="http://schemas.microsoft.com/office/drawing/2014/main" id="{757B6906-32CD-4418-8933-9C95B2A19A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75983" y="2269774"/>
                <a:ext cx="93328" cy="672941"/>
              </a:xfrm>
              <a:custGeom>
                <a:avLst/>
                <a:gdLst>
                  <a:gd name="T0" fmla="*/ 2 w 8"/>
                  <a:gd name="T1" fmla="*/ 57 h 57"/>
                  <a:gd name="T2" fmla="*/ 8 w 8"/>
                  <a:gd name="T3" fmla="*/ 2 h 57"/>
                  <a:gd name="T4" fmla="*/ 4 w 8"/>
                  <a:gd name="T5" fmla="*/ 0 h 57"/>
                  <a:gd name="T6" fmla="*/ 1 w 8"/>
                  <a:gd name="T7" fmla="*/ 57 h 57"/>
                  <a:gd name="T8" fmla="*/ 2 w 8"/>
                  <a:gd name="T9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7">
                    <a:moveTo>
                      <a:pt x="2" y="57"/>
                    </a:moveTo>
                    <a:cubicBezTo>
                      <a:pt x="2" y="37"/>
                      <a:pt x="3" y="17"/>
                      <a:pt x="8" y="2"/>
                    </a:cubicBezTo>
                    <a:cubicBezTo>
                      <a:pt x="7" y="1"/>
                      <a:pt x="5" y="0"/>
                      <a:pt x="4" y="0"/>
                    </a:cubicBezTo>
                    <a:cubicBezTo>
                      <a:pt x="0" y="15"/>
                      <a:pt x="0" y="36"/>
                      <a:pt x="1" y="57"/>
                    </a:cubicBezTo>
                    <a:lnTo>
                      <a:pt x="2" y="5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1" name="Freeform 70">
                <a:extLst>
                  <a:ext uri="{FF2B5EF4-FFF2-40B4-BE49-F238E27FC236}">
                    <a16:creationId xmlns:a16="http://schemas.microsoft.com/office/drawing/2014/main" id="{EBA5DDE4-3CAB-4090-A0DE-6CA807E911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43729" y="3271817"/>
                <a:ext cx="186655" cy="304542"/>
              </a:xfrm>
              <a:custGeom>
                <a:avLst/>
                <a:gdLst>
                  <a:gd name="T0" fmla="*/ 16 w 16"/>
                  <a:gd name="T1" fmla="*/ 26 h 26"/>
                  <a:gd name="T2" fmla="*/ 7 w 16"/>
                  <a:gd name="T3" fmla="*/ 13 h 26"/>
                  <a:gd name="T4" fmla="*/ 1 w 16"/>
                  <a:gd name="T5" fmla="*/ 2 h 26"/>
                  <a:gd name="T6" fmla="*/ 0 w 16"/>
                  <a:gd name="T7" fmla="*/ 0 h 26"/>
                  <a:gd name="T8" fmla="*/ 0 w 16"/>
                  <a:gd name="T9" fmla="*/ 1 h 26"/>
                  <a:gd name="T10" fmla="*/ 0 w 16"/>
                  <a:gd name="T11" fmla="*/ 12 h 26"/>
                  <a:gd name="T12" fmla="*/ 0 w 16"/>
                  <a:gd name="T13" fmla="*/ 26 h 26"/>
                  <a:gd name="T14" fmla="*/ 16 w 16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6">
                    <a:moveTo>
                      <a:pt x="16" y="26"/>
                    </a:moveTo>
                    <a:cubicBezTo>
                      <a:pt x="7" y="13"/>
                      <a:pt x="7" y="13"/>
                      <a:pt x="7" y="13"/>
                    </a:cubicBezTo>
                    <a:cubicBezTo>
                      <a:pt x="5" y="9"/>
                      <a:pt x="2" y="5"/>
                      <a:pt x="1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5"/>
                      <a:pt x="0" y="9"/>
                      <a:pt x="0" y="12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6" y="26"/>
                      <a:pt x="11" y="26"/>
                      <a:pt x="16" y="26"/>
                    </a:cubicBezTo>
                    <a:close/>
                  </a:path>
                </a:pathLst>
              </a:custGeom>
              <a:solidFill>
                <a:srgbClr val="1961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2" name="Freeform 71">
                <a:extLst>
                  <a:ext uri="{FF2B5EF4-FFF2-40B4-BE49-F238E27FC236}">
                    <a16:creationId xmlns:a16="http://schemas.microsoft.com/office/drawing/2014/main" id="{16FB5C49-A997-4A5B-AEAF-335FC685EB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33992" y="2294334"/>
                <a:ext cx="1198522" cy="844860"/>
              </a:xfrm>
              <a:custGeom>
                <a:avLst/>
                <a:gdLst>
                  <a:gd name="T0" fmla="*/ 103 w 103"/>
                  <a:gd name="T1" fmla="*/ 69 h 72"/>
                  <a:gd name="T2" fmla="*/ 6 w 103"/>
                  <a:gd name="T3" fmla="*/ 0 h 72"/>
                  <a:gd name="T4" fmla="*/ 0 w 103"/>
                  <a:gd name="T5" fmla="*/ 4 h 72"/>
                  <a:gd name="T6" fmla="*/ 103 w 103"/>
                  <a:gd name="T7" fmla="*/ 72 h 72"/>
                  <a:gd name="T8" fmla="*/ 103 w 103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" h="72">
                    <a:moveTo>
                      <a:pt x="103" y="69"/>
                    </a:moveTo>
                    <a:cubicBezTo>
                      <a:pt x="70" y="45"/>
                      <a:pt x="34" y="21"/>
                      <a:pt x="6" y="0"/>
                    </a:cubicBezTo>
                    <a:cubicBezTo>
                      <a:pt x="4" y="1"/>
                      <a:pt x="2" y="3"/>
                      <a:pt x="0" y="4"/>
                    </a:cubicBezTo>
                    <a:cubicBezTo>
                      <a:pt x="30" y="25"/>
                      <a:pt x="68" y="49"/>
                      <a:pt x="103" y="72"/>
                    </a:cubicBezTo>
                    <a:lnTo>
                      <a:pt x="103" y="69"/>
                    </a:lnTo>
                    <a:close/>
                  </a:path>
                </a:pathLst>
              </a:custGeom>
              <a:solidFill>
                <a:srgbClr val="4DB3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3" name="Freeform 72">
                <a:extLst>
                  <a:ext uri="{FF2B5EF4-FFF2-40B4-BE49-F238E27FC236}">
                    <a16:creationId xmlns:a16="http://schemas.microsoft.com/office/drawing/2014/main" id="{540643B9-AC70-46E1-8092-B59E6F1A34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66245" y="3576359"/>
                <a:ext cx="314366" cy="127711"/>
              </a:xfrm>
              <a:custGeom>
                <a:avLst/>
                <a:gdLst>
                  <a:gd name="T0" fmla="*/ 27 w 27"/>
                  <a:gd name="T1" fmla="*/ 0 h 11"/>
                  <a:gd name="T2" fmla="*/ 0 w 27"/>
                  <a:gd name="T3" fmla="*/ 0 h 11"/>
                  <a:gd name="T4" fmla="*/ 0 w 27"/>
                  <a:gd name="T5" fmla="*/ 11 h 11"/>
                  <a:gd name="T6" fmla="*/ 7 w 27"/>
                  <a:gd name="T7" fmla="*/ 11 h 11"/>
                  <a:gd name="T8" fmla="*/ 27 w 27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1">
                    <a:moveTo>
                      <a:pt x="27" y="0"/>
                    </a:moveTo>
                    <a:cubicBezTo>
                      <a:pt x="18" y="0"/>
                      <a:pt x="9" y="0"/>
                      <a:pt x="0" y="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19" y="11"/>
                      <a:pt x="25" y="7"/>
                      <a:pt x="27" y="0"/>
                    </a:cubicBezTo>
                    <a:close/>
                  </a:path>
                </a:pathLst>
              </a:custGeom>
              <a:solidFill>
                <a:srgbClr val="E951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4" name="Freeform 73">
                <a:extLst>
                  <a:ext uri="{FF2B5EF4-FFF2-40B4-BE49-F238E27FC236}">
                    <a16:creationId xmlns:a16="http://schemas.microsoft.com/office/drawing/2014/main" id="{32D8553E-08CF-4616-8EDF-9462DD4180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66245" y="3129370"/>
                <a:ext cx="334014" cy="446990"/>
              </a:xfrm>
              <a:custGeom>
                <a:avLst/>
                <a:gdLst>
                  <a:gd name="T0" fmla="*/ 8 w 29"/>
                  <a:gd name="T1" fmla="*/ 0 h 38"/>
                  <a:gd name="T2" fmla="*/ 0 w 29"/>
                  <a:gd name="T3" fmla="*/ 0 h 38"/>
                  <a:gd name="T4" fmla="*/ 0 w 29"/>
                  <a:gd name="T5" fmla="*/ 38 h 38"/>
                  <a:gd name="T6" fmla="*/ 27 w 29"/>
                  <a:gd name="T7" fmla="*/ 38 h 38"/>
                  <a:gd name="T8" fmla="*/ 29 w 29"/>
                  <a:gd name="T9" fmla="*/ 25 h 38"/>
                  <a:gd name="T10" fmla="*/ 8 w 29"/>
                  <a:gd name="T1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38">
                    <a:moveTo>
                      <a:pt x="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9" y="38"/>
                      <a:pt x="18" y="38"/>
                      <a:pt x="27" y="38"/>
                    </a:cubicBezTo>
                    <a:cubicBezTo>
                      <a:pt x="29" y="35"/>
                      <a:pt x="29" y="30"/>
                      <a:pt x="29" y="25"/>
                    </a:cubicBezTo>
                    <a:cubicBezTo>
                      <a:pt x="29" y="11"/>
                      <a:pt x="25" y="0"/>
                      <a:pt x="8" y="0"/>
                    </a:cubicBezTo>
                    <a:close/>
                  </a:path>
                </a:pathLst>
              </a:custGeom>
              <a:solidFill>
                <a:srgbClr val="1961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5" name="Freeform 74">
                <a:extLst>
                  <a:ext uri="{FF2B5EF4-FFF2-40B4-BE49-F238E27FC236}">
                    <a16:creationId xmlns:a16="http://schemas.microsoft.com/office/drawing/2014/main" id="{8A339935-6A83-4644-9DF0-28B647CCFF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32514" y="2942715"/>
                <a:ext cx="854684" cy="962747"/>
              </a:xfrm>
              <a:custGeom>
                <a:avLst/>
                <a:gdLst>
                  <a:gd name="T0" fmla="*/ 0 w 73"/>
                  <a:gd name="T1" fmla="*/ 13 h 82"/>
                  <a:gd name="T2" fmla="*/ 0 w 73"/>
                  <a:gd name="T3" fmla="*/ 3 h 82"/>
                  <a:gd name="T4" fmla="*/ 0 w 73"/>
                  <a:gd name="T5" fmla="*/ 0 h 82"/>
                  <a:gd name="T6" fmla="*/ 11 w 73"/>
                  <a:gd name="T7" fmla="*/ 0 h 82"/>
                  <a:gd name="T8" fmla="*/ 19 w 73"/>
                  <a:gd name="T9" fmla="*/ 0 h 82"/>
                  <a:gd name="T10" fmla="*/ 22 w 73"/>
                  <a:gd name="T11" fmla="*/ 0 h 82"/>
                  <a:gd name="T12" fmla="*/ 22 w 73"/>
                  <a:gd name="T13" fmla="*/ 0 h 82"/>
                  <a:gd name="T14" fmla="*/ 27 w 73"/>
                  <a:gd name="T15" fmla="*/ 9 h 82"/>
                  <a:gd name="T16" fmla="*/ 27 w 73"/>
                  <a:gd name="T17" fmla="*/ 9 h 82"/>
                  <a:gd name="T18" fmla="*/ 45 w 73"/>
                  <a:gd name="T19" fmla="*/ 37 h 82"/>
                  <a:gd name="T20" fmla="*/ 45 w 73"/>
                  <a:gd name="T21" fmla="*/ 37 h 82"/>
                  <a:gd name="T22" fmla="*/ 48 w 73"/>
                  <a:gd name="T23" fmla="*/ 41 h 82"/>
                  <a:gd name="T24" fmla="*/ 51 w 73"/>
                  <a:gd name="T25" fmla="*/ 48 h 82"/>
                  <a:gd name="T26" fmla="*/ 55 w 73"/>
                  <a:gd name="T27" fmla="*/ 54 h 82"/>
                  <a:gd name="T28" fmla="*/ 55 w 73"/>
                  <a:gd name="T29" fmla="*/ 42 h 82"/>
                  <a:gd name="T30" fmla="*/ 55 w 73"/>
                  <a:gd name="T31" fmla="*/ 31 h 82"/>
                  <a:gd name="T32" fmla="*/ 55 w 73"/>
                  <a:gd name="T33" fmla="*/ 0 h 82"/>
                  <a:gd name="T34" fmla="*/ 55 w 73"/>
                  <a:gd name="T35" fmla="*/ 0 h 82"/>
                  <a:gd name="T36" fmla="*/ 56 w 73"/>
                  <a:gd name="T37" fmla="*/ 0 h 82"/>
                  <a:gd name="T38" fmla="*/ 57 w 73"/>
                  <a:gd name="T39" fmla="*/ 0 h 82"/>
                  <a:gd name="T40" fmla="*/ 64 w 73"/>
                  <a:gd name="T41" fmla="*/ 0 h 82"/>
                  <a:gd name="T42" fmla="*/ 73 w 73"/>
                  <a:gd name="T43" fmla="*/ 0 h 82"/>
                  <a:gd name="T44" fmla="*/ 73 w 73"/>
                  <a:gd name="T45" fmla="*/ 25 h 82"/>
                  <a:gd name="T46" fmla="*/ 73 w 73"/>
                  <a:gd name="T47" fmla="*/ 27 h 82"/>
                  <a:gd name="T48" fmla="*/ 73 w 73"/>
                  <a:gd name="T49" fmla="*/ 39 h 82"/>
                  <a:gd name="T50" fmla="*/ 73 w 73"/>
                  <a:gd name="T51" fmla="*/ 44 h 82"/>
                  <a:gd name="T52" fmla="*/ 73 w 73"/>
                  <a:gd name="T53" fmla="*/ 79 h 82"/>
                  <a:gd name="T54" fmla="*/ 73 w 73"/>
                  <a:gd name="T55" fmla="*/ 82 h 82"/>
                  <a:gd name="T56" fmla="*/ 64 w 73"/>
                  <a:gd name="T57" fmla="*/ 82 h 82"/>
                  <a:gd name="T58" fmla="*/ 53 w 73"/>
                  <a:gd name="T59" fmla="*/ 82 h 82"/>
                  <a:gd name="T60" fmla="*/ 51 w 73"/>
                  <a:gd name="T61" fmla="*/ 82 h 82"/>
                  <a:gd name="T62" fmla="*/ 43 w 73"/>
                  <a:gd name="T63" fmla="*/ 70 h 82"/>
                  <a:gd name="T64" fmla="*/ 41 w 73"/>
                  <a:gd name="T65" fmla="*/ 67 h 82"/>
                  <a:gd name="T66" fmla="*/ 34 w 73"/>
                  <a:gd name="T67" fmla="*/ 54 h 82"/>
                  <a:gd name="T68" fmla="*/ 25 w 73"/>
                  <a:gd name="T69" fmla="*/ 41 h 82"/>
                  <a:gd name="T70" fmla="*/ 19 w 73"/>
                  <a:gd name="T71" fmla="*/ 30 h 82"/>
                  <a:gd name="T72" fmla="*/ 18 w 73"/>
                  <a:gd name="T73" fmla="*/ 28 h 82"/>
                  <a:gd name="T74" fmla="*/ 18 w 73"/>
                  <a:gd name="T75" fmla="*/ 29 h 82"/>
                  <a:gd name="T76" fmla="*/ 18 w 73"/>
                  <a:gd name="T77" fmla="*/ 40 h 82"/>
                  <a:gd name="T78" fmla="*/ 18 w 73"/>
                  <a:gd name="T79" fmla="*/ 54 h 82"/>
                  <a:gd name="T80" fmla="*/ 18 w 73"/>
                  <a:gd name="T81" fmla="*/ 82 h 82"/>
                  <a:gd name="T82" fmla="*/ 0 w 73"/>
                  <a:gd name="T83" fmla="*/ 82 h 82"/>
                  <a:gd name="T84" fmla="*/ 0 w 73"/>
                  <a:gd name="T85" fmla="*/ 54 h 82"/>
                  <a:gd name="T86" fmla="*/ 0 w 73"/>
                  <a:gd name="T87" fmla="*/ 17 h 82"/>
                  <a:gd name="T88" fmla="*/ 0 w 73"/>
                  <a:gd name="T89" fmla="*/ 14 h 82"/>
                  <a:gd name="T90" fmla="*/ 0 w 73"/>
                  <a:gd name="T91" fmla="*/ 1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3" h="82">
                    <a:moveTo>
                      <a:pt x="0" y="13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7" y="9"/>
                      <a:pt x="27" y="9"/>
                      <a:pt x="27" y="9"/>
                    </a:cubicBezTo>
                    <a:cubicBezTo>
                      <a:pt x="27" y="9"/>
                      <a:pt x="27" y="9"/>
                      <a:pt x="27" y="9"/>
                    </a:cubicBezTo>
                    <a:cubicBezTo>
                      <a:pt x="45" y="37"/>
                      <a:pt x="45" y="37"/>
                      <a:pt x="45" y="37"/>
                    </a:cubicBezTo>
                    <a:cubicBezTo>
                      <a:pt x="45" y="37"/>
                      <a:pt x="45" y="37"/>
                      <a:pt x="45" y="37"/>
                    </a:cubicBezTo>
                    <a:cubicBezTo>
                      <a:pt x="48" y="41"/>
                      <a:pt x="48" y="41"/>
                      <a:pt x="48" y="41"/>
                    </a:cubicBezTo>
                    <a:cubicBezTo>
                      <a:pt x="49" y="43"/>
                      <a:pt x="50" y="45"/>
                      <a:pt x="51" y="48"/>
                    </a:cubicBezTo>
                    <a:cubicBezTo>
                      <a:pt x="53" y="50"/>
                      <a:pt x="54" y="53"/>
                      <a:pt x="55" y="54"/>
                    </a:cubicBezTo>
                    <a:cubicBezTo>
                      <a:pt x="55" y="51"/>
                      <a:pt x="55" y="45"/>
                      <a:pt x="55" y="42"/>
                    </a:cubicBezTo>
                    <a:cubicBezTo>
                      <a:pt x="55" y="31"/>
                      <a:pt x="55" y="31"/>
                      <a:pt x="55" y="31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25"/>
                      <a:pt x="73" y="25"/>
                      <a:pt x="73" y="25"/>
                    </a:cubicBezTo>
                    <a:cubicBezTo>
                      <a:pt x="73" y="27"/>
                      <a:pt x="73" y="27"/>
                      <a:pt x="73" y="27"/>
                    </a:cubicBezTo>
                    <a:cubicBezTo>
                      <a:pt x="73" y="39"/>
                      <a:pt x="73" y="39"/>
                      <a:pt x="73" y="39"/>
                    </a:cubicBezTo>
                    <a:cubicBezTo>
                      <a:pt x="73" y="44"/>
                      <a:pt x="73" y="44"/>
                      <a:pt x="73" y="44"/>
                    </a:cubicBezTo>
                    <a:cubicBezTo>
                      <a:pt x="73" y="79"/>
                      <a:pt x="73" y="79"/>
                      <a:pt x="73" y="79"/>
                    </a:cubicBezTo>
                    <a:cubicBezTo>
                      <a:pt x="73" y="82"/>
                      <a:pt x="73" y="82"/>
                      <a:pt x="73" y="82"/>
                    </a:cubicBezTo>
                    <a:cubicBezTo>
                      <a:pt x="64" y="82"/>
                      <a:pt x="64" y="82"/>
                      <a:pt x="64" y="82"/>
                    </a:cubicBezTo>
                    <a:cubicBezTo>
                      <a:pt x="53" y="82"/>
                      <a:pt x="53" y="82"/>
                      <a:pt x="53" y="82"/>
                    </a:cubicBezTo>
                    <a:cubicBezTo>
                      <a:pt x="51" y="82"/>
                      <a:pt x="51" y="82"/>
                      <a:pt x="51" y="82"/>
                    </a:cubicBezTo>
                    <a:cubicBezTo>
                      <a:pt x="43" y="70"/>
                      <a:pt x="43" y="70"/>
                      <a:pt x="43" y="70"/>
                    </a:cubicBezTo>
                    <a:cubicBezTo>
                      <a:pt x="41" y="67"/>
                      <a:pt x="41" y="67"/>
                      <a:pt x="41" y="67"/>
                    </a:cubicBezTo>
                    <a:cubicBezTo>
                      <a:pt x="34" y="54"/>
                      <a:pt x="34" y="54"/>
                      <a:pt x="34" y="54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3" y="37"/>
                      <a:pt x="20" y="33"/>
                      <a:pt x="19" y="30"/>
                    </a:cubicBezTo>
                    <a:cubicBezTo>
                      <a:pt x="18" y="29"/>
                      <a:pt x="18" y="29"/>
                      <a:pt x="18" y="28"/>
                    </a:cubicBezTo>
                    <a:cubicBezTo>
                      <a:pt x="18" y="29"/>
                      <a:pt x="18" y="29"/>
                      <a:pt x="18" y="29"/>
                    </a:cubicBezTo>
                    <a:cubicBezTo>
                      <a:pt x="18" y="33"/>
                      <a:pt x="18" y="37"/>
                      <a:pt x="18" y="40"/>
                    </a:cubicBezTo>
                    <a:cubicBezTo>
                      <a:pt x="18" y="54"/>
                      <a:pt x="18" y="54"/>
                      <a:pt x="18" y="54"/>
                    </a:cubicBezTo>
                    <a:cubicBezTo>
                      <a:pt x="18" y="82"/>
                      <a:pt x="18" y="82"/>
                      <a:pt x="18" y="82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4"/>
                      <a:pt x="0" y="14"/>
                      <a:pt x="0" y="14"/>
                    </a:cubicBez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6" name="Rectangle 75">
                <a:extLst>
                  <a:ext uri="{FF2B5EF4-FFF2-40B4-BE49-F238E27FC236}">
                    <a16:creationId xmlns:a16="http://schemas.microsoft.com/office/drawing/2014/main" id="{38F00D49-BB3E-4D33-8C00-AA4B1BB9859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54009" y="2942715"/>
                <a:ext cx="230863" cy="96274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7" name="Freeform 76">
                <a:extLst>
                  <a:ext uri="{FF2B5EF4-FFF2-40B4-BE49-F238E27FC236}">
                    <a16:creationId xmlns:a16="http://schemas.microsoft.com/office/drawing/2014/main" id="{AACB6206-696C-42C5-BFC3-34484F163FD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720647" y="2942715"/>
                <a:ext cx="839948" cy="962747"/>
              </a:xfrm>
              <a:custGeom>
                <a:avLst/>
                <a:gdLst>
                  <a:gd name="T0" fmla="*/ 31 w 72"/>
                  <a:gd name="T1" fmla="*/ 0 h 82"/>
                  <a:gd name="T2" fmla="*/ 0 w 72"/>
                  <a:gd name="T3" fmla="*/ 0 h 82"/>
                  <a:gd name="T4" fmla="*/ 0 w 72"/>
                  <a:gd name="T5" fmla="*/ 54 h 82"/>
                  <a:gd name="T6" fmla="*/ 0 w 72"/>
                  <a:gd name="T7" fmla="*/ 82 h 82"/>
                  <a:gd name="T8" fmla="*/ 30 w 72"/>
                  <a:gd name="T9" fmla="*/ 82 h 82"/>
                  <a:gd name="T10" fmla="*/ 70 w 72"/>
                  <a:gd name="T11" fmla="*/ 54 h 82"/>
                  <a:gd name="T12" fmla="*/ 72 w 72"/>
                  <a:gd name="T13" fmla="*/ 41 h 82"/>
                  <a:gd name="T14" fmla="*/ 31 w 72"/>
                  <a:gd name="T15" fmla="*/ 0 h 82"/>
                  <a:gd name="T16" fmla="*/ 48 w 72"/>
                  <a:gd name="T17" fmla="*/ 54 h 82"/>
                  <a:gd name="T18" fmla="*/ 28 w 72"/>
                  <a:gd name="T19" fmla="*/ 65 h 82"/>
                  <a:gd name="T20" fmla="*/ 21 w 72"/>
                  <a:gd name="T21" fmla="*/ 65 h 82"/>
                  <a:gd name="T22" fmla="*/ 21 w 72"/>
                  <a:gd name="T23" fmla="*/ 54 h 82"/>
                  <a:gd name="T24" fmla="*/ 21 w 72"/>
                  <a:gd name="T25" fmla="*/ 16 h 82"/>
                  <a:gd name="T26" fmla="*/ 29 w 72"/>
                  <a:gd name="T27" fmla="*/ 16 h 82"/>
                  <a:gd name="T28" fmla="*/ 50 w 72"/>
                  <a:gd name="T29" fmla="*/ 41 h 82"/>
                  <a:gd name="T30" fmla="*/ 48 w 72"/>
                  <a:gd name="T31" fmla="*/ 54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2" h="82">
                    <a:moveTo>
                      <a:pt x="3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30" y="82"/>
                      <a:pt x="30" y="82"/>
                      <a:pt x="30" y="82"/>
                    </a:cubicBezTo>
                    <a:cubicBezTo>
                      <a:pt x="54" y="82"/>
                      <a:pt x="66" y="69"/>
                      <a:pt x="70" y="54"/>
                    </a:cubicBezTo>
                    <a:cubicBezTo>
                      <a:pt x="71" y="50"/>
                      <a:pt x="72" y="45"/>
                      <a:pt x="72" y="41"/>
                    </a:cubicBezTo>
                    <a:cubicBezTo>
                      <a:pt x="72" y="20"/>
                      <a:pt x="61" y="0"/>
                      <a:pt x="31" y="0"/>
                    </a:cubicBezTo>
                    <a:close/>
                    <a:moveTo>
                      <a:pt x="48" y="54"/>
                    </a:moveTo>
                    <a:cubicBezTo>
                      <a:pt x="46" y="61"/>
                      <a:pt x="40" y="65"/>
                      <a:pt x="28" y="65"/>
                    </a:cubicBezTo>
                    <a:cubicBezTo>
                      <a:pt x="21" y="65"/>
                      <a:pt x="21" y="65"/>
                      <a:pt x="21" y="65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21" y="16"/>
                      <a:pt x="21" y="16"/>
                      <a:pt x="21" y="16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46" y="16"/>
                      <a:pt x="50" y="27"/>
                      <a:pt x="50" y="41"/>
                    </a:cubicBezTo>
                    <a:cubicBezTo>
                      <a:pt x="50" y="46"/>
                      <a:pt x="50" y="51"/>
                      <a:pt x="48" y="5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3233156"/>
      </p:ext>
    </p:extLst>
  </p:cSld>
  <p:clrMapOvr>
    <a:masterClrMapping/>
  </p:clrMapOvr>
  <p:transition spd="slow" advClick="0" advTm="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42" presetClass="path" presetSubtype="0" accel="24000" decel="76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0 0 L 0.41276 0.42431 " pathEditMode="relative" rAng="0" ptsTypes="AA">
                                      <p:cBhvr>
                                        <p:cTn id="2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638" y="21204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6" presetClass="emph" presetSubtype="0" accel="24000" decel="76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23" dur="1000" fill="hold"/>
                                        <p:tgtEl>
                                          <p:spTgt spid="14"/>
                                        </p:tgtEl>
                                      </p:cBhvr>
                                      <p:by x="22500" y="225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enter title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 hasCustomPrompt="1"/>
          </p:nvPr>
        </p:nvSpPr>
        <p:spPr>
          <a:xfrm>
            <a:off x="458926" y="1092201"/>
            <a:ext cx="11274148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noProof="0"/>
              <a:t>Photo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/>
              <a:t>Photo (100%)</a:t>
            </a:r>
            <a:endParaRPr lang="nl-NL"/>
          </a:p>
        </p:txBody>
      </p:sp>
      <p:grpSp>
        <p:nvGrpSpPr>
          <p:cNvPr id="32" name="Instruction Image Cropping"/>
          <p:cNvGrpSpPr/>
          <p:nvPr userDrawn="1"/>
        </p:nvGrpSpPr>
        <p:grpSpPr>
          <a:xfrm>
            <a:off x="12726410" y="21754"/>
            <a:ext cx="2733484" cy="6868888"/>
            <a:chOff x="12346582" y="-5444"/>
            <a:chExt cx="2733484" cy="6868888"/>
          </a:xfrm>
        </p:grpSpPr>
        <p:grpSp>
          <p:nvGrpSpPr>
            <p:cNvPr id="33" name="bijsnijden"/>
            <p:cNvGrpSpPr/>
            <p:nvPr userDrawn="1"/>
          </p:nvGrpSpPr>
          <p:grpSpPr>
            <a:xfrm>
              <a:off x="12346582" y="5717305"/>
              <a:ext cx="779464" cy="828260"/>
              <a:chOff x="13143038" y="5655940"/>
              <a:chExt cx="779464" cy="828260"/>
            </a:xfrm>
          </p:grpSpPr>
          <p:grpSp>
            <p:nvGrpSpPr>
              <p:cNvPr id="51" name="Groep 50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54" name="Rechthoek 53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55" name="Afbeelding 54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56" name="L-vorm 55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7" name="L-vorm 56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52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53" name="Rechthoekige driehoek 52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accent4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34" name="Rechthoek 33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accent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35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n image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6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image you want to use </a:t>
              </a:r>
              <a:b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7" name="Ovaal 36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38" name="Ovaal 37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39" name="Rechte verbindingslijn 38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40" name="Rechte verbindingslijn 39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41" name="Rechte verbindingslijn 40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pic>
          <p:nvPicPr>
            <p:cNvPr id="42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488780" y="1490583"/>
              <a:ext cx="521075" cy="521075"/>
            </a:xfrm>
            <a:prstGeom prst="rect">
              <a:avLst/>
            </a:prstGeom>
          </p:spPr>
        </p:pic>
        <p:sp>
          <p:nvSpPr>
            <p:cNvPr id="43" name="Tekstvak 33"/>
            <p:cNvSpPr txBox="1"/>
            <p:nvPr/>
          </p:nvSpPr>
          <p:spPr>
            <a:xfrm>
              <a:off x="12479311" y="5017802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Picture Tools’ </a:t>
              </a: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Crop’</a:t>
              </a:r>
              <a:endParaRPr lang="nl-NL" sz="1200" b="1" kern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4" name="Ovaal 43"/>
            <p:cNvSpPr/>
            <p:nvPr/>
          </p:nvSpPr>
          <p:spPr>
            <a:xfrm>
              <a:off x="12488779" y="4532940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45" name="Rechte verbindingslijn 44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46" name="Groep 45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47" name="Afgeronde rechthoek 46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/>
                  <a:t>Insert</a:t>
                </a:r>
              </a:p>
            </p:txBody>
          </p:sp>
          <p:cxnSp>
            <p:nvCxnSpPr>
              <p:cNvPr id="49" name="Rechte verbindingslijn 48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0" name="Gelijkbenige driehoek 49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22825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enter title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/>
              <a:t>Media (100%)</a:t>
            </a:r>
            <a:endParaRPr lang="nl-NL"/>
          </a:p>
        </p:txBody>
      </p:sp>
      <p:sp>
        <p:nvSpPr>
          <p:cNvPr id="85" name="Tijdelijke aanduiding voor media 12"/>
          <p:cNvSpPr>
            <a:spLocks noGrp="1"/>
          </p:cNvSpPr>
          <p:nvPr>
            <p:ph type="media" sz="quarter" idx="14"/>
          </p:nvPr>
        </p:nvSpPr>
        <p:spPr>
          <a:xfrm>
            <a:off x="458926" y="1092201"/>
            <a:ext cx="1127520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endParaRPr lang="en-GB" noProof="0"/>
          </a:p>
        </p:txBody>
      </p:sp>
      <p:grpSp>
        <p:nvGrpSpPr>
          <p:cNvPr id="44" name="Instruction video"/>
          <p:cNvGrpSpPr/>
          <p:nvPr userDrawn="1"/>
        </p:nvGrpSpPr>
        <p:grpSpPr>
          <a:xfrm>
            <a:off x="12731768" y="18567"/>
            <a:ext cx="2733484" cy="6868888"/>
            <a:chOff x="12346582" y="-5444"/>
            <a:chExt cx="2733484" cy="6868888"/>
          </a:xfrm>
        </p:grpSpPr>
        <p:grpSp>
          <p:nvGrpSpPr>
            <p:cNvPr id="45" name="Video icoon"/>
            <p:cNvGrpSpPr/>
            <p:nvPr/>
          </p:nvGrpSpPr>
          <p:grpSpPr>
            <a:xfrm>
              <a:off x="12484900" y="1490716"/>
              <a:ext cx="510875" cy="521956"/>
              <a:chOff x="10510560" y="2589326"/>
              <a:chExt cx="939297" cy="959670"/>
            </a:xfrm>
          </p:grpSpPr>
          <p:sp>
            <p:nvSpPr>
              <p:cNvPr id="71" name="Ovaal 70"/>
              <p:cNvSpPr/>
              <p:nvPr userDrawn="1"/>
            </p:nvSpPr>
            <p:spPr>
              <a:xfrm>
                <a:off x="10565049" y="2589326"/>
                <a:ext cx="769780" cy="769780"/>
              </a:xfrm>
              <a:prstGeom prst="ellipse">
                <a:avLst/>
              </a:prstGeom>
              <a:gradFill flip="none" rotWithShape="1">
                <a:gsLst>
                  <a:gs pos="53000">
                    <a:srgbClr val="1D1D1B">
                      <a:lumMod val="25000"/>
                      <a:lumOff val="75000"/>
                    </a:srgbClr>
                  </a:gs>
                  <a:gs pos="100000">
                    <a:srgbClr val="1D1D1B">
                      <a:lumMod val="50000"/>
                      <a:lumOff val="50000"/>
                    </a:srgbClr>
                  </a:gs>
                </a:gsLst>
                <a:lin ang="8100000" scaled="1"/>
                <a:tileRect/>
              </a:gradFill>
              <a:ln w="19050" cap="flat" cmpd="sng" algn="ctr">
                <a:solidFill>
                  <a:srgbClr val="FFFFFF">
                    <a:lumMod val="50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sp>
            <p:nvSpPr>
              <p:cNvPr id="72" name="Ovaal 71"/>
              <p:cNvSpPr/>
              <p:nvPr userDrawn="1"/>
            </p:nvSpPr>
            <p:spPr>
              <a:xfrm>
                <a:off x="10646722" y="2589326"/>
                <a:ext cx="769780" cy="769780"/>
              </a:xfrm>
              <a:prstGeom prst="ellipse">
                <a:avLst/>
              </a:prstGeom>
              <a:gradFill>
                <a:gsLst>
                  <a:gs pos="0">
                    <a:srgbClr val="1D1D1B">
                      <a:lumMod val="10000"/>
                      <a:lumOff val="90000"/>
                    </a:srgbClr>
                  </a:gs>
                  <a:gs pos="100000">
                    <a:srgbClr val="1D1D1B">
                      <a:lumMod val="25000"/>
                      <a:lumOff val="75000"/>
                    </a:srgbClr>
                  </a:gs>
                </a:gsLst>
                <a:lin ang="8100000" scaled="1"/>
              </a:gradFill>
              <a:ln w="19050" cap="flat" cmpd="sng" algn="ctr">
                <a:solidFill>
                  <a:srgbClr val="FFFFFF">
                    <a:lumMod val="50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grpSp>
            <p:nvGrpSpPr>
              <p:cNvPr id="73" name="Groep 72"/>
              <p:cNvGrpSpPr/>
              <p:nvPr userDrawn="1"/>
            </p:nvGrpSpPr>
            <p:grpSpPr>
              <a:xfrm>
                <a:off x="10704223" y="2644466"/>
                <a:ext cx="655000" cy="631020"/>
                <a:chOff x="10707687" y="2647930"/>
                <a:chExt cx="655000" cy="631020"/>
              </a:xfrm>
            </p:grpSpPr>
            <p:sp>
              <p:nvSpPr>
                <p:cNvPr id="76" name="Ovaal 75"/>
                <p:cNvSpPr/>
                <p:nvPr userDrawn="1"/>
              </p:nvSpPr>
              <p:spPr>
                <a:xfrm>
                  <a:off x="10923711" y="2647930"/>
                  <a:ext cx="216024" cy="216024"/>
                </a:xfrm>
                <a:prstGeom prst="ellipse">
                  <a:avLst/>
                </a:prstGeom>
                <a:gradFill flip="none" rotWithShape="1">
                  <a:gsLst>
                    <a:gs pos="9000">
                      <a:srgbClr val="1D1D1B">
                        <a:lumMod val="25000"/>
                        <a:lumOff val="75000"/>
                      </a:srgbClr>
                    </a:gs>
                    <a:gs pos="100000">
                      <a:srgbClr val="1D1D1B">
                        <a:lumMod val="90000"/>
                        <a:lumOff val="10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Ovaal 76"/>
                <p:cNvSpPr/>
                <p:nvPr userDrawn="1"/>
              </p:nvSpPr>
              <p:spPr>
                <a:xfrm>
                  <a:off x="10707687" y="2800330"/>
                  <a:ext cx="216024" cy="216024"/>
                </a:xfrm>
                <a:prstGeom prst="ellipse">
                  <a:avLst/>
                </a:prstGeom>
                <a:gradFill flip="none" rotWithShape="1">
                  <a:gsLst>
                    <a:gs pos="9000">
                      <a:srgbClr val="1D1D1B">
                        <a:lumMod val="25000"/>
                        <a:lumOff val="75000"/>
                      </a:srgbClr>
                    </a:gs>
                    <a:gs pos="100000">
                      <a:srgbClr val="1D1D1B">
                        <a:lumMod val="90000"/>
                        <a:lumOff val="10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Ovaal 77"/>
                <p:cNvSpPr/>
                <p:nvPr userDrawn="1"/>
              </p:nvSpPr>
              <p:spPr>
                <a:xfrm>
                  <a:off x="11146663" y="2800330"/>
                  <a:ext cx="216024" cy="216024"/>
                </a:xfrm>
                <a:prstGeom prst="ellipse">
                  <a:avLst/>
                </a:prstGeom>
                <a:gradFill flip="none" rotWithShape="1">
                  <a:gsLst>
                    <a:gs pos="9000">
                      <a:srgbClr val="1D1D1B">
                        <a:lumMod val="25000"/>
                        <a:lumOff val="75000"/>
                      </a:srgbClr>
                    </a:gs>
                    <a:gs pos="100000">
                      <a:srgbClr val="1D1D1B">
                        <a:lumMod val="90000"/>
                        <a:lumOff val="10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Ovaal 78"/>
                <p:cNvSpPr/>
                <p:nvPr userDrawn="1"/>
              </p:nvSpPr>
              <p:spPr>
                <a:xfrm>
                  <a:off x="10793802" y="3062926"/>
                  <a:ext cx="216024" cy="216024"/>
                </a:xfrm>
                <a:prstGeom prst="ellipse">
                  <a:avLst/>
                </a:prstGeom>
                <a:gradFill flip="none" rotWithShape="1">
                  <a:gsLst>
                    <a:gs pos="9000">
                      <a:srgbClr val="1D1D1B">
                        <a:lumMod val="25000"/>
                        <a:lumOff val="75000"/>
                      </a:srgbClr>
                    </a:gs>
                    <a:gs pos="100000">
                      <a:srgbClr val="1D1D1B">
                        <a:lumMod val="90000"/>
                        <a:lumOff val="10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Ovaal 79"/>
                <p:cNvSpPr/>
                <p:nvPr userDrawn="1"/>
              </p:nvSpPr>
              <p:spPr>
                <a:xfrm>
                  <a:off x="11067727" y="3062926"/>
                  <a:ext cx="216024" cy="216024"/>
                </a:xfrm>
                <a:prstGeom prst="ellipse">
                  <a:avLst/>
                </a:prstGeom>
                <a:gradFill flip="none" rotWithShape="1">
                  <a:gsLst>
                    <a:gs pos="9000">
                      <a:srgbClr val="1D1D1B">
                        <a:lumMod val="25000"/>
                        <a:lumOff val="75000"/>
                      </a:srgbClr>
                    </a:gs>
                    <a:gs pos="100000">
                      <a:srgbClr val="1D1D1B">
                        <a:lumMod val="90000"/>
                        <a:lumOff val="10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Ovaal 80"/>
                <p:cNvSpPr/>
                <p:nvPr userDrawn="1"/>
              </p:nvSpPr>
              <p:spPr>
                <a:xfrm>
                  <a:off x="10953403" y="2892430"/>
                  <a:ext cx="170496" cy="170496"/>
                </a:xfrm>
                <a:prstGeom prst="ellipse">
                  <a:avLst/>
                </a:prstGeom>
                <a:gradFill>
                  <a:gsLst>
                    <a:gs pos="0">
                      <a:srgbClr val="1D1D1B">
                        <a:lumMod val="10000"/>
                        <a:lumOff val="90000"/>
                      </a:srgbClr>
                    </a:gs>
                    <a:gs pos="100000">
                      <a:srgbClr val="1D1D1B">
                        <a:lumMod val="25000"/>
                        <a:lumOff val="75000"/>
                      </a:srgbClr>
                    </a:gs>
                  </a:gsLst>
                  <a:path path="circle">
                    <a:fillToRect l="100000" t="100000"/>
                  </a:path>
                </a:gradFill>
                <a:ln w="25400" cap="flat" cmpd="sng" algn="ctr">
                  <a:solidFill>
                    <a:srgbClr val="FFFFFF">
                      <a:lumMod val="65000"/>
                      <a:alpha val="38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4" name="Rechthoek 10"/>
              <p:cNvSpPr/>
              <p:nvPr userDrawn="1"/>
            </p:nvSpPr>
            <p:spPr>
              <a:xfrm>
                <a:off x="10510560" y="3140981"/>
                <a:ext cx="939297" cy="408015"/>
              </a:xfrm>
              <a:custGeom>
                <a:avLst/>
                <a:gdLst>
                  <a:gd name="connsiteX0" fmla="*/ 0 w 1129820"/>
                  <a:gd name="connsiteY0" fmla="*/ 0 h 386313"/>
                  <a:gd name="connsiteX1" fmla="*/ 1129820 w 1129820"/>
                  <a:gd name="connsiteY1" fmla="*/ 0 h 386313"/>
                  <a:gd name="connsiteX2" fmla="*/ 1129820 w 1129820"/>
                  <a:gd name="connsiteY2" fmla="*/ 386313 h 386313"/>
                  <a:gd name="connsiteX3" fmla="*/ 0 w 1129820"/>
                  <a:gd name="connsiteY3" fmla="*/ 386313 h 386313"/>
                  <a:gd name="connsiteX4" fmla="*/ 0 w 1129820"/>
                  <a:gd name="connsiteY4" fmla="*/ 0 h 386313"/>
                  <a:gd name="connsiteX0" fmla="*/ 145473 w 1129820"/>
                  <a:gd name="connsiteY0" fmla="*/ 0 h 427876"/>
                  <a:gd name="connsiteX1" fmla="*/ 1129820 w 1129820"/>
                  <a:gd name="connsiteY1" fmla="*/ 41563 h 427876"/>
                  <a:gd name="connsiteX2" fmla="*/ 1129820 w 1129820"/>
                  <a:gd name="connsiteY2" fmla="*/ 427876 h 427876"/>
                  <a:gd name="connsiteX3" fmla="*/ 0 w 1129820"/>
                  <a:gd name="connsiteY3" fmla="*/ 427876 h 427876"/>
                  <a:gd name="connsiteX4" fmla="*/ 145473 w 1129820"/>
                  <a:gd name="connsiteY4" fmla="*/ 0 h 427876"/>
                  <a:gd name="connsiteX0" fmla="*/ 145473 w 1129820"/>
                  <a:gd name="connsiteY0" fmla="*/ 0 h 427876"/>
                  <a:gd name="connsiteX1" fmla="*/ 1129820 w 1129820"/>
                  <a:gd name="connsiteY1" fmla="*/ 41563 h 427876"/>
                  <a:gd name="connsiteX2" fmla="*/ 1129820 w 1129820"/>
                  <a:gd name="connsiteY2" fmla="*/ 427876 h 427876"/>
                  <a:gd name="connsiteX3" fmla="*/ 0 w 1129820"/>
                  <a:gd name="connsiteY3" fmla="*/ 427876 h 427876"/>
                  <a:gd name="connsiteX4" fmla="*/ 145473 w 1129820"/>
                  <a:gd name="connsiteY4" fmla="*/ 0 h 427876"/>
                  <a:gd name="connsiteX0" fmla="*/ 33864 w 1018211"/>
                  <a:gd name="connsiteY0" fmla="*/ 0 h 427876"/>
                  <a:gd name="connsiteX1" fmla="*/ 1018211 w 1018211"/>
                  <a:gd name="connsiteY1" fmla="*/ 41563 h 427876"/>
                  <a:gd name="connsiteX2" fmla="*/ 1018211 w 1018211"/>
                  <a:gd name="connsiteY2" fmla="*/ 427876 h 427876"/>
                  <a:gd name="connsiteX3" fmla="*/ 151628 w 1018211"/>
                  <a:gd name="connsiteY3" fmla="*/ 310112 h 427876"/>
                  <a:gd name="connsiteX4" fmla="*/ 33864 w 1018211"/>
                  <a:gd name="connsiteY4" fmla="*/ 0 h 427876"/>
                  <a:gd name="connsiteX0" fmla="*/ 100890 w 1085237"/>
                  <a:gd name="connsiteY0" fmla="*/ 0 h 427876"/>
                  <a:gd name="connsiteX1" fmla="*/ 1085237 w 1085237"/>
                  <a:gd name="connsiteY1" fmla="*/ 41563 h 427876"/>
                  <a:gd name="connsiteX2" fmla="*/ 1085237 w 1085237"/>
                  <a:gd name="connsiteY2" fmla="*/ 427876 h 427876"/>
                  <a:gd name="connsiteX3" fmla="*/ 218654 w 1085237"/>
                  <a:gd name="connsiteY3" fmla="*/ 310112 h 427876"/>
                  <a:gd name="connsiteX4" fmla="*/ 100890 w 1085237"/>
                  <a:gd name="connsiteY4" fmla="*/ 0 h 427876"/>
                  <a:gd name="connsiteX0" fmla="*/ 103919 w 1081338"/>
                  <a:gd name="connsiteY0" fmla="*/ 0 h 448658"/>
                  <a:gd name="connsiteX1" fmla="*/ 1081338 w 1081338"/>
                  <a:gd name="connsiteY1" fmla="*/ 62345 h 448658"/>
                  <a:gd name="connsiteX2" fmla="*/ 1081338 w 1081338"/>
                  <a:gd name="connsiteY2" fmla="*/ 448658 h 448658"/>
                  <a:gd name="connsiteX3" fmla="*/ 214755 w 1081338"/>
                  <a:gd name="connsiteY3" fmla="*/ 330894 h 448658"/>
                  <a:gd name="connsiteX4" fmla="*/ 103919 w 1081338"/>
                  <a:gd name="connsiteY4" fmla="*/ 0 h 448658"/>
                  <a:gd name="connsiteX0" fmla="*/ 123695 w 1101114"/>
                  <a:gd name="connsiteY0" fmla="*/ 0 h 448658"/>
                  <a:gd name="connsiteX1" fmla="*/ 1101114 w 1101114"/>
                  <a:gd name="connsiteY1" fmla="*/ 62345 h 448658"/>
                  <a:gd name="connsiteX2" fmla="*/ 1101114 w 1101114"/>
                  <a:gd name="connsiteY2" fmla="*/ 448658 h 448658"/>
                  <a:gd name="connsiteX3" fmla="*/ 234531 w 1101114"/>
                  <a:gd name="connsiteY3" fmla="*/ 330894 h 448658"/>
                  <a:gd name="connsiteX4" fmla="*/ 123695 w 1101114"/>
                  <a:gd name="connsiteY4" fmla="*/ 0 h 448658"/>
                  <a:gd name="connsiteX0" fmla="*/ 123695 w 1101114"/>
                  <a:gd name="connsiteY0" fmla="*/ 0 h 448658"/>
                  <a:gd name="connsiteX1" fmla="*/ 1101114 w 1101114"/>
                  <a:gd name="connsiteY1" fmla="*/ 62345 h 448658"/>
                  <a:gd name="connsiteX2" fmla="*/ 1101114 w 1101114"/>
                  <a:gd name="connsiteY2" fmla="*/ 448658 h 448658"/>
                  <a:gd name="connsiteX3" fmla="*/ 403939 w 1101114"/>
                  <a:gd name="connsiteY3" fmla="*/ 175382 h 448658"/>
                  <a:gd name="connsiteX4" fmla="*/ 234531 w 1101114"/>
                  <a:gd name="connsiteY4" fmla="*/ 330894 h 448658"/>
                  <a:gd name="connsiteX5" fmla="*/ 123695 w 1101114"/>
                  <a:gd name="connsiteY5" fmla="*/ 0 h 448658"/>
                  <a:gd name="connsiteX0" fmla="*/ 123695 w 1101114"/>
                  <a:gd name="connsiteY0" fmla="*/ 4727 h 453385"/>
                  <a:gd name="connsiteX1" fmla="*/ 1101114 w 1101114"/>
                  <a:gd name="connsiteY1" fmla="*/ 67072 h 453385"/>
                  <a:gd name="connsiteX2" fmla="*/ 1101114 w 1101114"/>
                  <a:gd name="connsiteY2" fmla="*/ 453385 h 453385"/>
                  <a:gd name="connsiteX3" fmla="*/ 577120 w 1101114"/>
                  <a:gd name="connsiteY3" fmla="*/ 0 h 453385"/>
                  <a:gd name="connsiteX4" fmla="*/ 234531 w 1101114"/>
                  <a:gd name="connsiteY4" fmla="*/ 335621 h 453385"/>
                  <a:gd name="connsiteX5" fmla="*/ 123695 w 1101114"/>
                  <a:gd name="connsiteY5" fmla="*/ 4727 h 453385"/>
                  <a:gd name="connsiteX0" fmla="*/ 123695 w 1101114"/>
                  <a:gd name="connsiteY0" fmla="*/ 4727 h 453385"/>
                  <a:gd name="connsiteX1" fmla="*/ 1101114 w 1101114"/>
                  <a:gd name="connsiteY1" fmla="*/ 67072 h 453385"/>
                  <a:gd name="connsiteX2" fmla="*/ 1101114 w 1101114"/>
                  <a:gd name="connsiteY2" fmla="*/ 453385 h 453385"/>
                  <a:gd name="connsiteX3" fmla="*/ 577120 w 1101114"/>
                  <a:gd name="connsiteY3" fmla="*/ 0 h 453385"/>
                  <a:gd name="connsiteX4" fmla="*/ 234531 w 1101114"/>
                  <a:gd name="connsiteY4" fmla="*/ 335621 h 453385"/>
                  <a:gd name="connsiteX5" fmla="*/ 123695 w 1101114"/>
                  <a:gd name="connsiteY5" fmla="*/ 4727 h 453385"/>
                  <a:gd name="connsiteX0" fmla="*/ 123695 w 1101114"/>
                  <a:gd name="connsiteY0" fmla="*/ 11654 h 460312"/>
                  <a:gd name="connsiteX1" fmla="*/ 1101114 w 1101114"/>
                  <a:gd name="connsiteY1" fmla="*/ 73999 h 460312"/>
                  <a:gd name="connsiteX2" fmla="*/ 1101114 w 1101114"/>
                  <a:gd name="connsiteY2" fmla="*/ 460312 h 460312"/>
                  <a:gd name="connsiteX3" fmla="*/ 604829 w 1101114"/>
                  <a:gd name="connsiteY3" fmla="*/ 0 h 460312"/>
                  <a:gd name="connsiteX4" fmla="*/ 234531 w 1101114"/>
                  <a:gd name="connsiteY4" fmla="*/ 342548 h 460312"/>
                  <a:gd name="connsiteX5" fmla="*/ 123695 w 1101114"/>
                  <a:gd name="connsiteY5" fmla="*/ 11654 h 460312"/>
                  <a:gd name="connsiteX0" fmla="*/ 123695 w 1101114"/>
                  <a:gd name="connsiteY0" fmla="*/ 11654 h 460312"/>
                  <a:gd name="connsiteX1" fmla="*/ 1101114 w 1101114"/>
                  <a:gd name="connsiteY1" fmla="*/ 73999 h 460312"/>
                  <a:gd name="connsiteX2" fmla="*/ 1101114 w 1101114"/>
                  <a:gd name="connsiteY2" fmla="*/ 460312 h 460312"/>
                  <a:gd name="connsiteX3" fmla="*/ 604829 w 1101114"/>
                  <a:gd name="connsiteY3" fmla="*/ 0 h 460312"/>
                  <a:gd name="connsiteX4" fmla="*/ 234531 w 1101114"/>
                  <a:gd name="connsiteY4" fmla="*/ 342548 h 460312"/>
                  <a:gd name="connsiteX5" fmla="*/ 123695 w 1101114"/>
                  <a:gd name="connsiteY5" fmla="*/ 11654 h 460312"/>
                  <a:gd name="connsiteX0" fmla="*/ 123695 w 1101114"/>
                  <a:gd name="connsiteY0" fmla="*/ 11654 h 460312"/>
                  <a:gd name="connsiteX1" fmla="*/ 1101114 w 1101114"/>
                  <a:gd name="connsiteY1" fmla="*/ 73999 h 460312"/>
                  <a:gd name="connsiteX2" fmla="*/ 1101114 w 1101114"/>
                  <a:gd name="connsiteY2" fmla="*/ 460312 h 460312"/>
                  <a:gd name="connsiteX3" fmla="*/ 604829 w 1101114"/>
                  <a:gd name="connsiteY3" fmla="*/ 0 h 460312"/>
                  <a:gd name="connsiteX4" fmla="*/ 234531 w 1101114"/>
                  <a:gd name="connsiteY4" fmla="*/ 342548 h 460312"/>
                  <a:gd name="connsiteX5" fmla="*/ 123695 w 1101114"/>
                  <a:gd name="connsiteY5" fmla="*/ 11654 h 460312"/>
                  <a:gd name="connsiteX0" fmla="*/ 98893 w 1076312"/>
                  <a:gd name="connsiteY0" fmla="*/ 11654 h 460312"/>
                  <a:gd name="connsiteX1" fmla="*/ 1076312 w 1076312"/>
                  <a:gd name="connsiteY1" fmla="*/ 73999 h 460312"/>
                  <a:gd name="connsiteX2" fmla="*/ 1076312 w 1076312"/>
                  <a:gd name="connsiteY2" fmla="*/ 460312 h 460312"/>
                  <a:gd name="connsiteX3" fmla="*/ 580027 w 1076312"/>
                  <a:gd name="connsiteY3" fmla="*/ 0 h 460312"/>
                  <a:gd name="connsiteX4" fmla="*/ 209729 w 1076312"/>
                  <a:gd name="connsiteY4" fmla="*/ 342548 h 460312"/>
                  <a:gd name="connsiteX5" fmla="*/ 98893 w 1076312"/>
                  <a:gd name="connsiteY5" fmla="*/ 11654 h 460312"/>
                  <a:gd name="connsiteX0" fmla="*/ 103531 w 1080950"/>
                  <a:gd name="connsiteY0" fmla="*/ 11654 h 460312"/>
                  <a:gd name="connsiteX1" fmla="*/ 1080950 w 1080950"/>
                  <a:gd name="connsiteY1" fmla="*/ 73999 h 460312"/>
                  <a:gd name="connsiteX2" fmla="*/ 1080950 w 1080950"/>
                  <a:gd name="connsiteY2" fmla="*/ 460312 h 460312"/>
                  <a:gd name="connsiteX3" fmla="*/ 584665 w 1080950"/>
                  <a:gd name="connsiteY3" fmla="*/ 0 h 460312"/>
                  <a:gd name="connsiteX4" fmla="*/ 200512 w 1080950"/>
                  <a:gd name="connsiteY4" fmla="*/ 342548 h 460312"/>
                  <a:gd name="connsiteX5" fmla="*/ 103531 w 1080950"/>
                  <a:gd name="connsiteY5" fmla="*/ 11654 h 460312"/>
                  <a:gd name="connsiteX0" fmla="*/ 103531 w 1080950"/>
                  <a:gd name="connsiteY0" fmla="*/ 11654 h 460312"/>
                  <a:gd name="connsiteX1" fmla="*/ 1080950 w 1080950"/>
                  <a:gd name="connsiteY1" fmla="*/ 73999 h 460312"/>
                  <a:gd name="connsiteX2" fmla="*/ 1080950 w 1080950"/>
                  <a:gd name="connsiteY2" fmla="*/ 460312 h 460312"/>
                  <a:gd name="connsiteX3" fmla="*/ 584665 w 1080950"/>
                  <a:gd name="connsiteY3" fmla="*/ 0 h 460312"/>
                  <a:gd name="connsiteX4" fmla="*/ 200512 w 1080950"/>
                  <a:gd name="connsiteY4" fmla="*/ 342548 h 460312"/>
                  <a:gd name="connsiteX5" fmla="*/ 103531 w 1080950"/>
                  <a:gd name="connsiteY5" fmla="*/ 11654 h 460312"/>
                  <a:gd name="connsiteX0" fmla="*/ 115967 w 1093386"/>
                  <a:gd name="connsiteY0" fmla="*/ 11654 h 460312"/>
                  <a:gd name="connsiteX1" fmla="*/ 1093386 w 1093386"/>
                  <a:gd name="connsiteY1" fmla="*/ 73999 h 460312"/>
                  <a:gd name="connsiteX2" fmla="*/ 1093386 w 1093386"/>
                  <a:gd name="connsiteY2" fmla="*/ 460312 h 460312"/>
                  <a:gd name="connsiteX3" fmla="*/ 597101 w 1093386"/>
                  <a:gd name="connsiteY3" fmla="*/ 0 h 460312"/>
                  <a:gd name="connsiteX4" fmla="*/ 212948 w 1093386"/>
                  <a:gd name="connsiteY4" fmla="*/ 342548 h 460312"/>
                  <a:gd name="connsiteX5" fmla="*/ 115967 w 1093386"/>
                  <a:gd name="connsiteY5" fmla="*/ 11654 h 460312"/>
                  <a:gd name="connsiteX0" fmla="*/ 115967 w 1093386"/>
                  <a:gd name="connsiteY0" fmla="*/ 11654 h 460312"/>
                  <a:gd name="connsiteX1" fmla="*/ 1093386 w 1093386"/>
                  <a:gd name="connsiteY1" fmla="*/ 73999 h 460312"/>
                  <a:gd name="connsiteX2" fmla="*/ 1093386 w 1093386"/>
                  <a:gd name="connsiteY2" fmla="*/ 460312 h 460312"/>
                  <a:gd name="connsiteX3" fmla="*/ 597101 w 1093386"/>
                  <a:gd name="connsiteY3" fmla="*/ 0 h 460312"/>
                  <a:gd name="connsiteX4" fmla="*/ 212948 w 1093386"/>
                  <a:gd name="connsiteY4" fmla="*/ 342548 h 460312"/>
                  <a:gd name="connsiteX5" fmla="*/ 115967 w 1093386"/>
                  <a:gd name="connsiteY5" fmla="*/ 11654 h 460312"/>
                  <a:gd name="connsiteX0" fmla="*/ 76283 w 1053702"/>
                  <a:gd name="connsiteY0" fmla="*/ 32436 h 481094"/>
                  <a:gd name="connsiteX1" fmla="*/ 1053702 w 1053702"/>
                  <a:gd name="connsiteY1" fmla="*/ 94781 h 481094"/>
                  <a:gd name="connsiteX2" fmla="*/ 1053702 w 1053702"/>
                  <a:gd name="connsiteY2" fmla="*/ 481094 h 481094"/>
                  <a:gd name="connsiteX3" fmla="*/ 640544 w 1053702"/>
                  <a:gd name="connsiteY3" fmla="*/ 0 h 481094"/>
                  <a:gd name="connsiteX4" fmla="*/ 173264 w 1053702"/>
                  <a:gd name="connsiteY4" fmla="*/ 363330 h 481094"/>
                  <a:gd name="connsiteX5" fmla="*/ 76283 w 1053702"/>
                  <a:gd name="connsiteY5" fmla="*/ 32436 h 481094"/>
                  <a:gd name="connsiteX0" fmla="*/ 108719 w 1086138"/>
                  <a:gd name="connsiteY0" fmla="*/ 32436 h 481094"/>
                  <a:gd name="connsiteX1" fmla="*/ 1086138 w 1086138"/>
                  <a:gd name="connsiteY1" fmla="*/ 94781 h 481094"/>
                  <a:gd name="connsiteX2" fmla="*/ 1086138 w 1086138"/>
                  <a:gd name="connsiteY2" fmla="*/ 481094 h 481094"/>
                  <a:gd name="connsiteX3" fmla="*/ 672980 w 1086138"/>
                  <a:gd name="connsiteY3" fmla="*/ 0 h 481094"/>
                  <a:gd name="connsiteX4" fmla="*/ 205700 w 1086138"/>
                  <a:gd name="connsiteY4" fmla="*/ 363330 h 481094"/>
                  <a:gd name="connsiteX5" fmla="*/ 108719 w 1086138"/>
                  <a:gd name="connsiteY5" fmla="*/ 32436 h 481094"/>
                  <a:gd name="connsiteX0" fmla="*/ 108719 w 1086138"/>
                  <a:gd name="connsiteY0" fmla="*/ 32436 h 481094"/>
                  <a:gd name="connsiteX1" fmla="*/ 1086138 w 1086138"/>
                  <a:gd name="connsiteY1" fmla="*/ 94781 h 481094"/>
                  <a:gd name="connsiteX2" fmla="*/ 1086138 w 1086138"/>
                  <a:gd name="connsiteY2" fmla="*/ 481094 h 481094"/>
                  <a:gd name="connsiteX3" fmla="*/ 672980 w 1086138"/>
                  <a:gd name="connsiteY3" fmla="*/ 0 h 481094"/>
                  <a:gd name="connsiteX4" fmla="*/ 205700 w 1086138"/>
                  <a:gd name="connsiteY4" fmla="*/ 363330 h 481094"/>
                  <a:gd name="connsiteX5" fmla="*/ 108719 w 1086138"/>
                  <a:gd name="connsiteY5" fmla="*/ 32436 h 481094"/>
                  <a:gd name="connsiteX0" fmla="*/ 108719 w 1210829"/>
                  <a:gd name="connsiteY0" fmla="*/ 32436 h 481094"/>
                  <a:gd name="connsiteX1" fmla="*/ 1210829 w 1210829"/>
                  <a:gd name="connsiteY1" fmla="*/ 351090 h 481094"/>
                  <a:gd name="connsiteX2" fmla="*/ 1086138 w 1210829"/>
                  <a:gd name="connsiteY2" fmla="*/ 481094 h 481094"/>
                  <a:gd name="connsiteX3" fmla="*/ 672980 w 1210829"/>
                  <a:gd name="connsiteY3" fmla="*/ 0 h 481094"/>
                  <a:gd name="connsiteX4" fmla="*/ 205700 w 1210829"/>
                  <a:gd name="connsiteY4" fmla="*/ 363330 h 481094"/>
                  <a:gd name="connsiteX5" fmla="*/ 108719 w 1210829"/>
                  <a:gd name="connsiteY5" fmla="*/ 32436 h 481094"/>
                  <a:gd name="connsiteX0" fmla="*/ 108719 w 1210829"/>
                  <a:gd name="connsiteY0" fmla="*/ 32436 h 367783"/>
                  <a:gd name="connsiteX1" fmla="*/ 1210829 w 1210829"/>
                  <a:gd name="connsiteY1" fmla="*/ 351090 h 367783"/>
                  <a:gd name="connsiteX2" fmla="*/ 996084 w 1210829"/>
                  <a:gd name="connsiteY2" fmla="*/ 30822 h 367783"/>
                  <a:gd name="connsiteX3" fmla="*/ 672980 w 1210829"/>
                  <a:gd name="connsiteY3" fmla="*/ 0 h 367783"/>
                  <a:gd name="connsiteX4" fmla="*/ 205700 w 1210829"/>
                  <a:gd name="connsiteY4" fmla="*/ 363330 h 367783"/>
                  <a:gd name="connsiteX5" fmla="*/ 108719 w 1210829"/>
                  <a:gd name="connsiteY5" fmla="*/ 32436 h 367783"/>
                  <a:gd name="connsiteX0" fmla="*/ 108719 w 996084"/>
                  <a:gd name="connsiteY0" fmla="*/ 32436 h 600471"/>
                  <a:gd name="connsiteX1" fmla="*/ 899101 w 996084"/>
                  <a:gd name="connsiteY1" fmla="*/ 600471 h 600471"/>
                  <a:gd name="connsiteX2" fmla="*/ 996084 w 996084"/>
                  <a:gd name="connsiteY2" fmla="*/ 30822 h 600471"/>
                  <a:gd name="connsiteX3" fmla="*/ 672980 w 996084"/>
                  <a:gd name="connsiteY3" fmla="*/ 0 h 600471"/>
                  <a:gd name="connsiteX4" fmla="*/ 205700 w 996084"/>
                  <a:gd name="connsiteY4" fmla="*/ 363330 h 600471"/>
                  <a:gd name="connsiteX5" fmla="*/ 108719 w 996084"/>
                  <a:gd name="connsiteY5" fmla="*/ 32436 h 600471"/>
                  <a:gd name="connsiteX0" fmla="*/ 108719 w 899101"/>
                  <a:gd name="connsiteY0" fmla="*/ 32436 h 600471"/>
                  <a:gd name="connsiteX1" fmla="*/ 899101 w 899101"/>
                  <a:gd name="connsiteY1" fmla="*/ 600471 h 600471"/>
                  <a:gd name="connsiteX2" fmla="*/ 767484 w 899101"/>
                  <a:gd name="connsiteY2" fmla="*/ 391040 h 600471"/>
                  <a:gd name="connsiteX3" fmla="*/ 672980 w 899101"/>
                  <a:gd name="connsiteY3" fmla="*/ 0 h 600471"/>
                  <a:gd name="connsiteX4" fmla="*/ 205700 w 899101"/>
                  <a:gd name="connsiteY4" fmla="*/ 363330 h 600471"/>
                  <a:gd name="connsiteX5" fmla="*/ 108719 w 899101"/>
                  <a:gd name="connsiteY5" fmla="*/ 32436 h 600471"/>
                  <a:gd name="connsiteX0" fmla="*/ 108719 w 923424"/>
                  <a:gd name="connsiteY0" fmla="*/ 32436 h 600471"/>
                  <a:gd name="connsiteX1" fmla="*/ 899101 w 923424"/>
                  <a:gd name="connsiteY1" fmla="*/ 600471 h 600471"/>
                  <a:gd name="connsiteX2" fmla="*/ 767484 w 923424"/>
                  <a:gd name="connsiteY2" fmla="*/ 391040 h 600471"/>
                  <a:gd name="connsiteX3" fmla="*/ 672980 w 923424"/>
                  <a:gd name="connsiteY3" fmla="*/ 0 h 600471"/>
                  <a:gd name="connsiteX4" fmla="*/ 205700 w 923424"/>
                  <a:gd name="connsiteY4" fmla="*/ 363330 h 600471"/>
                  <a:gd name="connsiteX5" fmla="*/ 108719 w 923424"/>
                  <a:gd name="connsiteY5" fmla="*/ 32436 h 600471"/>
                  <a:gd name="connsiteX0" fmla="*/ 108719 w 925266"/>
                  <a:gd name="connsiteY0" fmla="*/ 34821 h 602856"/>
                  <a:gd name="connsiteX1" fmla="*/ 899101 w 925266"/>
                  <a:gd name="connsiteY1" fmla="*/ 602856 h 602856"/>
                  <a:gd name="connsiteX2" fmla="*/ 767484 w 925266"/>
                  <a:gd name="connsiteY2" fmla="*/ 393425 h 602856"/>
                  <a:gd name="connsiteX3" fmla="*/ 672980 w 925266"/>
                  <a:gd name="connsiteY3" fmla="*/ 2385 h 602856"/>
                  <a:gd name="connsiteX4" fmla="*/ 205700 w 925266"/>
                  <a:gd name="connsiteY4" fmla="*/ 365715 h 602856"/>
                  <a:gd name="connsiteX5" fmla="*/ 108719 w 925266"/>
                  <a:gd name="connsiteY5" fmla="*/ 34821 h 602856"/>
                  <a:gd name="connsiteX0" fmla="*/ 108719 w 934847"/>
                  <a:gd name="connsiteY0" fmla="*/ 32442 h 600477"/>
                  <a:gd name="connsiteX1" fmla="*/ 899101 w 934847"/>
                  <a:gd name="connsiteY1" fmla="*/ 600477 h 600477"/>
                  <a:gd name="connsiteX2" fmla="*/ 767484 w 934847"/>
                  <a:gd name="connsiteY2" fmla="*/ 391046 h 600477"/>
                  <a:gd name="connsiteX3" fmla="*/ 672980 w 934847"/>
                  <a:gd name="connsiteY3" fmla="*/ 6 h 600477"/>
                  <a:gd name="connsiteX4" fmla="*/ 205700 w 934847"/>
                  <a:gd name="connsiteY4" fmla="*/ 363336 h 600477"/>
                  <a:gd name="connsiteX5" fmla="*/ 108719 w 934847"/>
                  <a:gd name="connsiteY5" fmla="*/ 32442 h 600477"/>
                  <a:gd name="connsiteX0" fmla="*/ 108719 w 922877"/>
                  <a:gd name="connsiteY0" fmla="*/ 32442 h 600477"/>
                  <a:gd name="connsiteX1" fmla="*/ 899101 w 922877"/>
                  <a:gd name="connsiteY1" fmla="*/ 600477 h 600477"/>
                  <a:gd name="connsiteX2" fmla="*/ 767484 w 922877"/>
                  <a:gd name="connsiteY2" fmla="*/ 391046 h 600477"/>
                  <a:gd name="connsiteX3" fmla="*/ 672980 w 922877"/>
                  <a:gd name="connsiteY3" fmla="*/ 6 h 600477"/>
                  <a:gd name="connsiteX4" fmla="*/ 205700 w 922877"/>
                  <a:gd name="connsiteY4" fmla="*/ 363336 h 600477"/>
                  <a:gd name="connsiteX5" fmla="*/ 108719 w 922877"/>
                  <a:gd name="connsiteY5" fmla="*/ 32442 h 600477"/>
                  <a:gd name="connsiteX0" fmla="*/ 108719 w 940851"/>
                  <a:gd name="connsiteY0" fmla="*/ 32442 h 600477"/>
                  <a:gd name="connsiteX1" fmla="*/ 899101 w 940851"/>
                  <a:gd name="connsiteY1" fmla="*/ 600477 h 600477"/>
                  <a:gd name="connsiteX2" fmla="*/ 767484 w 940851"/>
                  <a:gd name="connsiteY2" fmla="*/ 391046 h 600477"/>
                  <a:gd name="connsiteX3" fmla="*/ 672980 w 940851"/>
                  <a:gd name="connsiteY3" fmla="*/ 6 h 600477"/>
                  <a:gd name="connsiteX4" fmla="*/ 205700 w 940851"/>
                  <a:gd name="connsiteY4" fmla="*/ 363336 h 600477"/>
                  <a:gd name="connsiteX5" fmla="*/ 108719 w 940851"/>
                  <a:gd name="connsiteY5" fmla="*/ 32442 h 600477"/>
                  <a:gd name="connsiteX0" fmla="*/ 108719 w 942823"/>
                  <a:gd name="connsiteY0" fmla="*/ 35699 h 603734"/>
                  <a:gd name="connsiteX1" fmla="*/ 899101 w 942823"/>
                  <a:gd name="connsiteY1" fmla="*/ 603734 h 603734"/>
                  <a:gd name="connsiteX2" fmla="*/ 767484 w 942823"/>
                  <a:gd name="connsiteY2" fmla="*/ 394303 h 603734"/>
                  <a:gd name="connsiteX3" fmla="*/ 672980 w 942823"/>
                  <a:gd name="connsiteY3" fmla="*/ 3263 h 603734"/>
                  <a:gd name="connsiteX4" fmla="*/ 205700 w 942823"/>
                  <a:gd name="connsiteY4" fmla="*/ 366593 h 603734"/>
                  <a:gd name="connsiteX5" fmla="*/ 108719 w 942823"/>
                  <a:gd name="connsiteY5" fmla="*/ 35699 h 603734"/>
                  <a:gd name="connsiteX0" fmla="*/ 108719 w 942823"/>
                  <a:gd name="connsiteY0" fmla="*/ 35699 h 603734"/>
                  <a:gd name="connsiteX1" fmla="*/ 899101 w 942823"/>
                  <a:gd name="connsiteY1" fmla="*/ 603734 h 603734"/>
                  <a:gd name="connsiteX2" fmla="*/ 767484 w 942823"/>
                  <a:gd name="connsiteY2" fmla="*/ 394303 h 603734"/>
                  <a:gd name="connsiteX3" fmla="*/ 672980 w 942823"/>
                  <a:gd name="connsiteY3" fmla="*/ 3263 h 603734"/>
                  <a:gd name="connsiteX4" fmla="*/ 205700 w 942823"/>
                  <a:gd name="connsiteY4" fmla="*/ 366593 h 603734"/>
                  <a:gd name="connsiteX5" fmla="*/ 108719 w 942823"/>
                  <a:gd name="connsiteY5" fmla="*/ 35699 h 603734"/>
                  <a:gd name="connsiteX0" fmla="*/ 108719 w 942823"/>
                  <a:gd name="connsiteY0" fmla="*/ 35699 h 394303"/>
                  <a:gd name="connsiteX1" fmla="*/ 635865 w 942823"/>
                  <a:gd name="connsiteY1" fmla="*/ 354352 h 394303"/>
                  <a:gd name="connsiteX2" fmla="*/ 767484 w 942823"/>
                  <a:gd name="connsiteY2" fmla="*/ 394303 h 394303"/>
                  <a:gd name="connsiteX3" fmla="*/ 672980 w 942823"/>
                  <a:gd name="connsiteY3" fmla="*/ 3263 h 394303"/>
                  <a:gd name="connsiteX4" fmla="*/ 205700 w 942823"/>
                  <a:gd name="connsiteY4" fmla="*/ 366593 h 394303"/>
                  <a:gd name="connsiteX5" fmla="*/ 108719 w 942823"/>
                  <a:gd name="connsiteY5" fmla="*/ 35699 h 394303"/>
                  <a:gd name="connsiteX0" fmla="*/ 108719 w 942823"/>
                  <a:gd name="connsiteY0" fmla="*/ 35699 h 394303"/>
                  <a:gd name="connsiteX1" fmla="*/ 714545 w 942823"/>
                  <a:gd name="connsiteY1" fmla="*/ 30975 h 394303"/>
                  <a:gd name="connsiteX2" fmla="*/ 635865 w 942823"/>
                  <a:gd name="connsiteY2" fmla="*/ 354352 h 394303"/>
                  <a:gd name="connsiteX3" fmla="*/ 767484 w 942823"/>
                  <a:gd name="connsiteY3" fmla="*/ 394303 h 394303"/>
                  <a:gd name="connsiteX4" fmla="*/ 672980 w 942823"/>
                  <a:gd name="connsiteY4" fmla="*/ 3263 h 394303"/>
                  <a:gd name="connsiteX5" fmla="*/ 205700 w 942823"/>
                  <a:gd name="connsiteY5" fmla="*/ 366593 h 394303"/>
                  <a:gd name="connsiteX6" fmla="*/ 108719 w 942823"/>
                  <a:gd name="connsiteY6" fmla="*/ 35699 h 394303"/>
                  <a:gd name="connsiteX0" fmla="*/ 108719 w 942823"/>
                  <a:gd name="connsiteY0" fmla="*/ 35699 h 394303"/>
                  <a:gd name="connsiteX1" fmla="*/ 714545 w 942823"/>
                  <a:gd name="connsiteY1" fmla="*/ 30975 h 394303"/>
                  <a:gd name="connsiteX2" fmla="*/ 635865 w 942823"/>
                  <a:gd name="connsiteY2" fmla="*/ 354352 h 394303"/>
                  <a:gd name="connsiteX3" fmla="*/ 767484 w 942823"/>
                  <a:gd name="connsiteY3" fmla="*/ 394303 h 394303"/>
                  <a:gd name="connsiteX4" fmla="*/ 672980 w 942823"/>
                  <a:gd name="connsiteY4" fmla="*/ 3263 h 394303"/>
                  <a:gd name="connsiteX5" fmla="*/ 205700 w 942823"/>
                  <a:gd name="connsiteY5" fmla="*/ 366593 h 394303"/>
                  <a:gd name="connsiteX6" fmla="*/ 108719 w 942823"/>
                  <a:gd name="connsiteY6" fmla="*/ 35699 h 394303"/>
                  <a:gd name="connsiteX0" fmla="*/ 108719 w 942823"/>
                  <a:gd name="connsiteY0" fmla="*/ 35699 h 394303"/>
                  <a:gd name="connsiteX1" fmla="*/ 714545 w 942823"/>
                  <a:gd name="connsiteY1" fmla="*/ 30975 h 394303"/>
                  <a:gd name="connsiteX2" fmla="*/ 635865 w 942823"/>
                  <a:gd name="connsiteY2" fmla="*/ 354352 h 394303"/>
                  <a:gd name="connsiteX3" fmla="*/ 767484 w 942823"/>
                  <a:gd name="connsiteY3" fmla="*/ 394303 h 394303"/>
                  <a:gd name="connsiteX4" fmla="*/ 672980 w 942823"/>
                  <a:gd name="connsiteY4" fmla="*/ 3263 h 394303"/>
                  <a:gd name="connsiteX5" fmla="*/ 205700 w 942823"/>
                  <a:gd name="connsiteY5" fmla="*/ 366593 h 394303"/>
                  <a:gd name="connsiteX6" fmla="*/ 108719 w 942823"/>
                  <a:gd name="connsiteY6" fmla="*/ 35699 h 394303"/>
                  <a:gd name="connsiteX0" fmla="*/ 108719 w 942823"/>
                  <a:gd name="connsiteY0" fmla="*/ 35699 h 394303"/>
                  <a:gd name="connsiteX1" fmla="*/ 714545 w 942823"/>
                  <a:gd name="connsiteY1" fmla="*/ 30975 h 394303"/>
                  <a:gd name="connsiteX2" fmla="*/ 635865 w 942823"/>
                  <a:gd name="connsiteY2" fmla="*/ 354352 h 394303"/>
                  <a:gd name="connsiteX3" fmla="*/ 767484 w 942823"/>
                  <a:gd name="connsiteY3" fmla="*/ 394303 h 394303"/>
                  <a:gd name="connsiteX4" fmla="*/ 672980 w 942823"/>
                  <a:gd name="connsiteY4" fmla="*/ 3263 h 394303"/>
                  <a:gd name="connsiteX5" fmla="*/ 205700 w 942823"/>
                  <a:gd name="connsiteY5" fmla="*/ 366593 h 394303"/>
                  <a:gd name="connsiteX6" fmla="*/ 108719 w 942823"/>
                  <a:gd name="connsiteY6" fmla="*/ 35699 h 394303"/>
                  <a:gd name="connsiteX0" fmla="*/ 108719 w 942823"/>
                  <a:gd name="connsiteY0" fmla="*/ 35699 h 394303"/>
                  <a:gd name="connsiteX1" fmla="*/ 714545 w 942823"/>
                  <a:gd name="connsiteY1" fmla="*/ 30975 h 394303"/>
                  <a:gd name="connsiteX2" fmla="*/ 635865 w 942823"/>
                  <a:gd name="connsiteY2" fmla="*/ 354352 h 394303"/>
                  <a:gd name="connsiteX3" fmla="*/ 767484 w 942823"/>
                  <a:gd name="connsiteY3" fmla="*/ 394303 h 394303"/>
                  <a:gd name="connsiteX4" fmla="*/ 672980 w 942823"/>
                  <a:gd name="connsiteY4" fmla="*/ 3263 h 394303"/>
                  <a:gd name="connsiteX5" fmla="*/ 205700 w 942823"/>
                  <a:gd name="connsiteY5" fmla="*/ 366593 h 394303"/>
                  <a:gd name="connsiteX6" fmla="*/ 108719 w 942823"/>
                  <a:gd name="connsiteY6" fmla="*/ 35699 h 394303"/>
                  <a:gd name="connsiteX0" fmla="*/ 108719 w 942823"/>
                  <a:gd name="connsiteY0" fmla="*/ 35699 h 394303"/>
                  <a:gd name="connsiteX1" fmla="*/ 714545 w 942823"/>
                  <a:gd name="connsiteY1" fmla="*/ 30975 h 394303"/>
                  <a:gd name="connsiteX2" fmla="*/ 635865 w 942823"/>
                  <a:gd name="connsiteY2" fmla="*/ 354352 h 394303"/>
                  <a:gd name="connsiteX3" fmla="*/ 767484 w 942823"/>
                  <a:gd name="connsiteY3" fmla="*/ 394303 h 394303"/>
                  <a:gd name="connsiteX4" fmla="*/ 672980 w 942823"/>
                  <a:gd name="connsiteY4" fmla="*/ 3263 h 394303"/>
                  <a:gd name="connsiteX5" fmla="*/ 205700 w 942823"/>
                  <a:gd name="connsiteY5" fmla="*/ 366593 h 394303"/>
                  <a:gd name="connsiteX6" fmla="*/ 108719 w 942823"/>
                  <a:gd name="connsiteY6" fmla="*/ 35699 h 394303"/>
                  <a:gd name="connsiteX0" fmla="*/ 108719 w 942823"/>
                  <a:gd name="connsiteY0" fmla="*/ 35699 h 394303"/>
                  <a:gd name="connsiteX1" fmla="*/ 243490 w 942823"/>
                  <a:gd name="connsiteY1" fmla="*/ 391193 h 394303"/>
                  <a:gd name="connsiteX2" fmla="*/ 714545 w 942823"/>
                  <a:gd name="connsiteY2" fmla="*/ 30975 h 394303"/>
                  <a:gd name="connsiteX3" fmla="*/ 635865 w 942823"/>
                  <a:gd name="connsiteY3" fmla="*/ 354352 h 394303"/>
                  <a:gd name="connsiteX4" fmla="*/ 767484 w 942823"/>
                  <a:gd name="connsiteY4" fmla="*/ 394303 h 394303"/>
                  <a:gd name="connsiteX5" fmla="*/ 672980 w 942823"/>
                  <a:gd name="connsiteY5" fmla="*/ 3263 h 394303"/>
                  <a:gd name="connsiteX6" fmla="*/ 205700 w 942823"/>
                  <a:gd name="connsiteY6" fmla="*/ 366593 h 394303"/>
                  <a:gd name="connsiteX7" fmla="*/ 108719 w 942823"/>
                  <a:gd name="connsiteY7" fmla="*/ 35699 h 394303"/>
                  <a:gd name="connsiteX0" fmla="*/ 108719 w 942823"/>
                  <a:gd name="connsiteY0" fmla="*/ 35699 h 394303"/>
                  <a:gd name="connsiteX1" fmla="*/ 243490 w 942823"/>
                  <a:gd name="connsiteY1" fmla="*/ 391193 h 394303"/>
                  <a:gd name="connsiteX2" fmla="*/ 714545 w 942823"/>
                  <a:gd name="connsiteY2" fmla="*/ 30975 h 394303"/>
                  <a:gd name="connsiteX3" fmla="*/ 635865 w 942823"/>
                  <a:gd name="connsiteY3" fmla="*/ 354352 h 394303"/>
                  <a:gd name="connsiteX4" fmla="*/ 767484 w 942823"/>
                  <a:gd name="connsiteY4" fmla="*/ 394303 h 394303"/>
                  <a:gd name="connsiteX5" fmla="*/ 672980 w 942823"/>
                  <a:gd name="connsiteY5" fmla="*/ 3263 h 394303"/>
                  <a:gd name="connsiteX6" fmla="*/ 205700 w 942823"/>
                  <a:gd name="connsiteY6" fmla="*/ 366593 h 394303"/>
                  <a:gd name="connsiteX7" fmla="*/ 108719 w 942823"/>
                  <a:gd name="connsiteY7" fmla="*/ 35699 h 394303"/>
                  <a:gd name="connsiteX0" fmla="*/ 108719 w 942823"/>
                  <a:gd name="connsiteY0" fmla="*/ 35699 h 394303"/>
                  <a:gd name="connsiteX1" fmla="*/ 243490 w 942823"/>
                  <a:gd name="connsiteY1" fmla="*/ 391193 h 394303"/>
                  <a:gd name="connsiteX2" fmla="*/ 714545 w 942823"/>
                  <a:gd name="connsiteY2" fmla="*/ 30975 h 394303"/>
                  <a:gd name="connsiteX3" fmla="*/ 635865 w 942823"/>
                  <a:gd name="connsiteY3" fmla="*/ 354352 h 394303"/>
                  <a:gd name="connsiteX4" fmla="*/ 767484 w 942823"/>
                  <a:gd name="connsiteY4" fmla="*/ 394303 h 394303"/>
                  <a:gd name="connsiteX5" fmla="*/ 672980 w 942823"/>
                  <a:gd name="connsiteY5" fmla="*/ 3263 h 394303"/>
                  <a:gd name="connsiteX6" fmla="*/ 205700 w 942823"/>
                  <a:gd name="connsiteY6" fmla="*/ 366593 h 394303"/>
                  <a:gd name="connsiteX7" fmla="*/ 108719 w 942823"/>
                  <a:gd name="connsiteY7" fmla="*/ 35699 h 394303"/>
                  <a:gd name="connsiteX0" fmla="*/ 108719 w 942823"/>
                  <a:gd name="connsiteY0" fmla="*/ 35699 h 394303"/>
                  <a:gd name="connsiteX1" fmla="*/ 243490 w 942823"/>
                  <a:gd name="connsiteY1" fmla="*/ 391193 h 394303"/>
                  <a:gd name="connsiteX2" fmla="*/ 714545 w 942823"/>
                  <a:gd name="connsiteY2" fmla="*/ 30975 h 394303"/>
                  <a:gd name="connsiteX3" fmla="*/ 635865 w 942823"/>
                  <a:gd name="connsiteY3" fmla="*/ 354352 h 394303"/>
                  <a:gd name="connsiteX4" fmla="*/ 767484 w 942823"/>
                  <a:gd name="connsiteY4" fmla="*/ 394303 h 394303"/>
                  <a:gd name="connsiteX5" fmla="*/ 672980 w 942823"/>
                  <a:gd name="connsiteY5" fmla="*/ 3263 h 394303"/>
                  <a:gd name="connsiteX6" fmla="*/ 205700 w 942823"/>
                  <a:gd name="connsiteY6" fmla="*/ 366593 h 394303"/>
                  <a:gd name="connsiteX7" fmla="*/ 108719 w 942823"/>
                  <a:gd name="connsiteY7" fmla="*/ 35699 h 394303"/>
                  <a:gd name="connsiteX0" fmla="*/ 108719 w 942823"/>
                  <a:gd name="connsiteY0" fmla="*/ 35699 h 394303"/>
                  <a:gd name="connsiteX1" fmla="*/ 243490 w 942823"/>
                  <a:gd name="connsiteY1" fmla="*/ 391193 h 394303"/>
                  <a:gd name="connsiteX2" fmla="*/ 714545 w 942823"/>
                  <a:gd name="connsiteY2" fmla="*/ 30975 h 394303"/>
                  <a:gd name="connsiteX3" fmla="*/ 635865 w 942823"/>
                  <a:gd name="connsiteY3" fmla="*/ 354352 h 394303"/>
                  <a:gd name="connsiteX4" fmla="*/ 767484 w 942823"/>
                  <a:gd name="connsiteY4" fmla="*/ 394303 h 394303"/>
                  <a:gd name="connsiteX5" fmla="*/ 672980 w 942823"/>
                  <a:gd name="connsiteY5" fmla="*/ 3263 h 394303"/>
                  <a:gd name="connsiteX6" fmla="*/ 205700 w 942823"/>
                  <a:gd name="connsiteY6" fmla="*/ 366593 h 394303"/>
                  <a:gd name="connsiteX7" fmla="*/ 108719 w 942823"/>
                  <a:gd name="connsiteY7" fmla="*/ 35699 h 394303"/>
                  <a:gd name="connsiteX0" fmla="*/ 99206 w 933310"/>
                  <a:gd name="connsiteY0" fmla="*/ 35699 h 394303"/>
                  <a:gd name="connsiteX1" fmla="*/ 233977 w 933310"/>
                  <a:gd name="connsiteY1" fmla="*/ 391193 h 394303"/>
                  <a:gd name="connsiteX2" fmla="*/ 705032 w 933310"/>
                  <a:gd name="connsiteY2" fmla="*/ 30975 h 394303"/>
                  <a:gd name="connsiteX3" fmla="*/ 626352 w 933310"/>
                  <a:gd name="connsiteY3" fmla="*/ 354352 h 394303"/>
                  <a:gd name="connsiteX4" fmla="*/ 757971 w 933310"/>
                  <a:gd name="connsiteY4" fmla="*/ 394303 h 394303"/>
                  <a:gd name="connsiteX5" fmla="*/ 663467 w 933310"/>
                  <a:gd name="connsiteY5" fmla="*/ 3263 h 394303"/>
                  <a:gd name="connsiteX6" fmla="*/ 223896 w 933310"/>
                  <a:gd name="connsiteY6" fmla="*/ 338883 h 394303"/>
                  <a:gd name="connsiteX7" fmla="*/ 99206 w 933310"/>
                  <a:gd name="connsiteY7" fmla="*/ 35699 h 394303"/>
                  <a:gd name="connsiteX0" fmla="*/ 111296 w 945400"/>
                  <a:gd name="connsiteY0" fmla="*/ 35699 h 394303"/>
                  <a:gd name="connsiteX1" fmla="*/ 246067 w 945400"/>
                  <a:gd name="connsiteY1" fmla="*/ 391193 h 394303"/>
                  <a:gd name="connsiteX2" fmla="*/ 717122 w 945400"/>
                  <a:gd name="connsiteY2" fmla="*/ 30975 h 394303"/>
                  <a:gd name="connsiteX3" fmla="*/ 638442 w 945400"/>
                  <a:gd name="connsiteY3" fmla="*/ 354352 h 394303"/>
                  <a:gd name="connsiteX4" fmla="*/ 770061 w 945400"/>
                  <a:gd name="connsiteY4" fmla="*/ 394303 h 394303"/>
                  <a:gd name="connsiteX5" fmla="*/ 675557 w 945400"/>
                  <a:gd name="connsiteY5" fmla="*/ 3263 h 394303"/>
                  <a:gd name="connsiteX6" fmla="*/ 201349 w 945400"/>
                  <a:gd name="connsiteY6" fmla="*/ 380446 h 394303"/>
                  <a:gd name="connsiteX7" fmla="*/ 111296 w 945400"/>
                  <a:gd name="connsiteY7" fmla="*/ 35699 h 394303"/>
                  <a:gd name="connsiteX0" fmla="*/ 111296 w 945400"/>
                  <a:gd name="connsiteY0" fmla="*/ 35699 h 394303"/>
                  <a:gd name="connsiteX1" fmla="*/ 232213 w 945400"/>
                  <a:gd name="connsiteY1" fmla="*/ 328847 h 394303"/>
                  <a:gd name="connsiteX2" fmla="*/ 717122 w 945400"/>
                  <a:gd name="connsiteY2" fmla="*/ 30975 h 394303"/>
                  <a:gd name="connsiteX3" fmla="*/ 638442 w 945400"/>
                  <a:gd name="connsiteY3" fmla="*/ 354352 h 394303"/>
                  <a:gd name="connsiteX4" fmla="*/ 770061 w 945400"/>
                  <a:gd name="connsiteY4" fmla="*/ 394303 h 394303"/>
                  <a:gd name="connsiteX5" fmla="*/ 675557 w 945400"/>
                  <a:gd name="connsiteY5" fmla="*/ 3263 h 394303"/>
                  <a:gd name="connsiteX6" fmla="*/ 201349 w 945400"/>
                  <a:gd name="connsiteY6" fmla="*/ 380446 h 394303"/>
                  <a:gd name="connsiteX7" fmla="*/ 111296 w 945400"/>
                  <a:gd name="connsiteY7" fmla="*/ 35699 h 394303"/>
                  <a:gd name="connsiteX0" fmla="*/ 111296 w 945400"/>
                  <a:gd name="connsiteY0" fmla="*/ 35699 h 394303"/>
                  <a:gd name="connsiteX1" fmla="*/ 232213 w 945400"/>
                  <a:gd name="connsiteY1" fmla="*/ 328847 h 394303"/>
                  <a:gd name="connsiteX2" fmla="*/ 717122 w 945400"/>
                  <a:gd name="connsiteY2" fmla="*/ 30975 h 394303"/>
                  <a:gd name="connsiteX3" fmla="*/ 638442 w 945400"/>
                  <a:gd name="connsiteY3" fmla="*/ 354352 h 394303"/>
                  <a:gd name="connsiteX4" fmla="*/ 770061 w 945400"/>
                  <a:gd name="connsiteY4" fmla="*/ 394303 h 394303"/>
                  <a:gd name="connsiteX5" fmla="*/ 675557 w 945400"/>
                  <a:gd name="connsiteY5" fmla="*/ 3263 h 394303"/>
                  <a:gd name="connsiteX6" fmla="*/ 201349 w 945400"/>
                  <a:gd name="connsiteY6" fmla="*/ 380446 h 394303"/>
                  <a:gd name="connsiteX7" fmla="*/ 111296 w 945400"/>
                  <a:gd name="connsiteY7" fmla="*/ 35699 h 394303"/>
                  <a:gd name="connsiteX0" fmla="*/ 94898 w 929002"/>
                  <a:gd name="connsiteY0" fmla="*/ 35699 h 394303"/>
                  <a:gd name="connsiteX1" fmla="*/ 215815 w 929002"/>
                  <a:gd name="connsiteY1" fmla="*/ 328847 h 394303"/>
                  <a:gd name="connsiteX2" fmla="*/ 700724 w 929002"/>
                  <a:gd name="connsiteY2" fmla="*/ 30975 h 394303"/>
                  <a:gd name="connsiteX3" fmla="*/ 622044 w 929002"/>
                  <a:gd name="connsiteY3" fmla="*/ 354352 h 394303"/>
                  <a:gd name="connsiteX4" fmla="*/ 753663 w 929002"/>
                  <a:gd name="connsiteY4" fmla="*/ 394303 h 394303"/>
                  <a:gd name="connsiteX5" fmla="*/ 659159 w 929002"/>
                  <a:gd name="connsiteY5" fmla="*/ 3263 h 394303"/>
                  <a:gd name="connsiteX6" fmla="*/ 233442 w 929002"/>
                  <a:gd name="connsiteY6" fmla="*/ 380446 h 394303"/>
                  <a:gd name="connsiteX7" fmla="*/ 94898 w 929002"/>
                  <a:gd name="connsiteY7" fmla="*/ 35699 h 394303"/>
                  <a:gd name="connsiteX0" fmla="*/ 98467 w 932571"/>
                  <a:gd name="connsiteY0" fmla="*/ 35699 h 394303"/>
                  <a:gd name="connsiteX1" fmla="*/ 219384 w 932571"/>
                  <a:gd name="connsiteY1" fmla="*/ 328847 h 394303"/>
                  <a:gd name="connsiteX2" fmla="*/ 704293 w 932571"/>
                  <a:gd name="connsiteY2" fmla="*/ 30975 h 394303"/>
                  <a:gd name="connsiteX3" fmla="*/ 625613 w 932571"/>
                  <a:gd name="connsiteY3" fmla="*/ 354352 h 394303"/>
                  <a:gd name="connsiteX4" fmla="*/ 757232 w 932571"/>
                  <a:gd name="connsiteY4" fmla="*/ 394303 h 394303"/>
                  <a:gd name="connsiteX5" fmla="*/ 662728 w 932571"/>
                  <a:gd name="connsiteY5" fmla="*/ 3263 h 394303"/>
                  <a:gd name="connsiteX6" fmla="*/ 237011 w 932571"/>
                  <a:gd name="connsiteY6" fmla="*/ 380446 h 394303"/>
                  <a:gd name="connsiteX7" fmla="*/ 98467 w 932571"/>
                  <a:gd name="connsiteY7" fmla="*/ 35699 h 394303"/>
                  <a:gd name="connsiteX0" fmla="*/ 105342 w 939446"/>
                  <a:gd name="connsiteY0" fmla="*/ 35699 h 394303"/>
                  <a:gd name="connsiteX1" fmla="*/ 226259 w 939446"/>
                  <a:gd name="connsiteY1" fmla="*/ 328847 h 394303"/>
                  <a:gd name="connsiteX2" fmla="*/ 711168 w 939446"/>
                  <a:gd name="connsiteY2" fmla="*/ 30975 h 394303"/>
                  <a:gd name="connsiteX3" fmla="*/ 632488 w 939446"/>
                  <a:gd name="connsiteY3" fmla="*/ 354352 h 394303"/>
                  <a:gd name="connsiteX4" fmla="*/ 764107 w 939446"/>
                  <a:gd name="connsiteY4" fmla="*/ 394303 h 394303"/>
                  <a:gd name="connsiteX5" fmla="*/ 669603 w 939446"/>
                  <a:gd name="connsiteY5" fmla="*/ 3263 h 394303"/>
                  <a:gd name="connsiteX6" fmla="*/ 223105 w 939446"/>
                  <a:gd name="connsiteY6" fmla="*/ 352737 h 394303"/>
                  <a:gd name="connsiteX7" fmla="*/ 105342 w 939446"/>
                  <a:gd name="connsiteY7" fmla="*/ 35699 h 394303"/>
                  <a:gd name="connsiteX0" fmla="*/ 105342 w 939446"/>
                  <a:gd name="connsiteY0" fmla="*/ 35699 h 403258"/>
                  <a:gd name="connsiteX1" fmla="*/ 198550 w 939446"/>
                  <a:gd name="connsiteY1" fmla="*/ 363484 h 403258"/>
                  <a:gd name="connsiteX2" fmla="*/ 711168 w 939446"/>
                  <a:gd name="connsiteY2" fmla="*/ 30975 h 403258"/>
                  <a:gd name="connsiteX3" fmla="*/ 632488 w 939446"/>
                  <a:gd name="connsiteY3" fmla="*/ 354352 h 403258"/>
                  <a:gd name="connsiteX4" fmla="*/ 764107 w 939446"/>
                  <a:gd name="connsiteY4" fmla="*/ 394303 h 403258"/>
                  <a:gd name="connsiteX5" fmla="*/ 669603 w 939446"/>
                  <a:gd name="connsiteY5" fmla="*/ 3263 h 403258"/>
                  <a:gd name="connsiteX6" fmla="*/ 223105 w 939446"/>
                  <a:gd name="connsiteY6" fmla="*/ 352737 h 403258"/>
                  <a:gd name="connsiteX7" fmla="*/ 105342 w 939446"/>
                  <a:gd name="connsiteY7" fmla="*/ 35699 h 403258"/>
                  <a:gd name="connsiteX0" fmla="*/ 105342 w 939446"/>
                  <a:gd name="connsiteY0" fmla="*/ 35699 h 394303"/>
                  <a:gd name="connsiteX1" fmla="*/ 198550 w 939446"/>
                  <a:gd name="connsiteY1" fmla="*/ 363484 h 394303"/>
                  <a:gd name="connsiteX2" fmla="*/ 711168 w 939446"/>
                  <a:gd name="connsiteY2" fmla="*/ 30975 h 394303"/>
                  <a:gd name="connsiteX3" fmla="*/ 632488 w 939446"/>
                  <a:gd name="connsiteY3" fmla="*/ 354352 h 394303"/>
                  <a:gd name="connsiteX4" fmla="*/ 764107 w 939446"/>
                  <a:gd name="connsiteY4" fmla="*/ 394303 h 394303"/>
                  <a:gd name="connsiteX5" fmla="*/ 669603 w 939446"/>
                  <a:gd name="connsiteY5" fmla="*/ 3263 h 394303"/>
                  <a:gd name="connsiteX6" fmla="*/ 223105 w 939446"/>
                  <a:gd name="connsiteY6" fmla="*/ 352737 h 394303"/>
                  <a:gd name="connsiteX7" fmla="*/ 105342 w 939446"/>
                  <a:gd name="connsiteY7" fmla="*/ 35699 h 394303"/>
                  <a:gd name="connsiteX0" fmla="*/ 105342 w 939446"/>
                  <a:gd name="connsiteY0" fmla="*/ 35699 h 394303"/>
                  <a:gd name="connsiteX1" fmla="*/ 198550 w 939446"/>
                  <a:gd name="connsiteY1" fmla="*/ 363484 h 394303"/>
                  <a:gd name="connsiteX2" fmla="*/ 711168 w 939446"/>
                  <a:gd name="connsiteY2" fmla="*/ 30975 h 394303"/>
                  <a:gd name="connsiteX3" fmla="*/ 632488 w 939446"/>
                  <a:gd name="connsiteY3" fmla="*/ 354352 h 394303"/>
                  <a:gd name="connsiteX4" fmla="*/ 764107 w 939446"/>
                  <a:gd name="connsiteY4" fmla="*/ 394303 h 394303"/>
                  <a:gd name="connsiteX5" fmla="*/ 669603 w 939446"/>
                  <a:gd name="connsiteY5" fmla="*/ 3263 h 394303"/>
                  <a:gd name="connsiteX6" fmla="*/ 223105 w 939446"/>
                  <a:gd name="connsiteY6" fmla="*/ 352737 h 394303"/>
                  <a:gd name="connsiteX7" fmla="*/ 105342 w 939446"/>
                  <a:gd name="connsiteY7" fmla="*/ 35699 h 394303"/>
                  <a:gd name="connsiteX0" fmla="*/ 105342 w 939446"/>
                  <a:gd name="connsiteY0" fmla="*/ 35699 h 394303"/>
                  <a:gd name="connsiteX1" fmla="*/ 170841 w 939446"/>
                  <a:gd name="connsiteY1" fmla="*/ 37902 h 394303"/>
                  <a:gd name="connsiteX2" fmla="*/ 198550 w 939446"/>
                  <a:gd name="connsiteY2" fmla="*/ 363484 h 394303"/>
                  <a:gd name="connsiteX3" fmla="*/ 711168 w 939446"/>
                  <a:gd name="connsiteY3" fmla="*/ 30975 h 394303"/>
                  <a:gd name="connsiteX4" fmla="*/ 632488 w 939446"/>
                  <a:gd name="connsiteY4" fmla="*/ 354352 h 394303"/>
                  <a:gd name="connsiteX5" fmla="*/ 764107 w 939446"/>
                  <a:gd name="connsiteY5" fmla="*/ 394303 h 394303"/>
                  <a:gd name="connsiteX6" fmla="*/ 669603 w 939446"/>
                  <a:gd name="connsiteY6" fmla="*/ 3263 h 394303"/>
                  <a:gd name="connsiteX7" fmla="*/ 223105 w 939446"/>
                  <a:gd name="connsiteY7" fmla="*/ 352737 h 394303"/>
                  <a:gd name="connsiteX8" fmla="*/ 105342 w 939446"/>
                  <a:gd name="connsiteY8" fmla="*/ 35699 h 394303"/>
                  <a:gd name="connsiteX0" fmla="*/ 105342 w 939446"/>
                  <a:gd name="connsiteY0" fmla="*/ 35699 h 394303"/>
                  <a:gd name="connsiteX1" fmla="*/ 170841 w 939446"/>
                  <a:gd name="connsiteY1" fmla="*/ 37902 h 394303"/>
                  <a:gd name="connsiteX2" fmla="*/ 198550 w 939446"/>
                  <a:gd name="connsiteY2" fmla="*/ 363484 h 394303"/>
                  <a:gd name="connsiteX3" fmla="*/ 711168 w 939446"/>
                  <a:gd name="connsiteY3" fmla="*/ 30975 h 394303"/>
                  <a:gd name="connsiteX4" fmla="*/ 632488 w 939446"/>
                  <a:gd name="connsiteY4" fmla="*/ 354352 h 394303"/>
                  <a:gd name="connsiteX5" fmla="*/ 764107 w 939446"/>
                  <a:gd name="connsiteY5" fmla="*/ 394303 h 394303"/>
                  <a:gd name="connsiteX6" fmla="*/ 669603 w 939446"/>
                  <a:gd name="connsiteY6" fmla="*/ 3263 h 394303"/>
                  <a:gd name="connsiteX7" fmla="*/ 223105 w 939446"/>
                  <a:gd name="connsiteY7" fmla="*/ 352737 h 394303"/>
                  <a:gd name="connsiteX8" fmla="*/ 105342 w 939446"/>
                  <a:gd name="connsiteY8" fmla="*/ 35699 h 394303"/>
                  <a:gd name="connsiteX0" fmla="*/ 105342 w 939446"/>
                  <a:gd name="connsiteY0" fmla="*/ 35699 h 394303"/>
                  <a:gd name="connsiteX1" fmla="*/ 170841 w 939446"/>
                  <a:gd name="connsiteY1" fmla="*/ 37902 h 394303"/>
                  <a:gd name="connsiteX2" fmla="*/ 198550 w 939446"/>
                  <a:gd name="connsiteY2" fmla="*/ 363484 h 394303"/>
                  <a:gd name="connsiteX3" fmla="*/ 711168 w 939446"/>
                  <a:gd name="connsiteY3" fmla="*/ 30975 h 394303"/>
                  <a:gd name="connsiteX4" fmla="*/ 632488 w 939446"/>
                  <a:gd name="connsiteY4" fmla="*/ 354352 h 394303"/>
                  <a:gd name="connsiteX5" fmla="*/ 764107 w 939446"/>
                  <a:gd name="connsiteY5" fmla="*/ 394303 h 394303"/>
                  <a:gd name="connsiteX6" fmla="*/ 669603 w 939446"/>
                  <a:gd name="connsiteY6" fmla="*/ 3263 h 394303"/>
                  <a:gd name="connsiteX7" fmla="*/ 223105 w 939446"/>
                  <a:gd name="connsiteY7" fmla="*/ 352737 h 394303"/>
                  <a:gd name="connsiteX8" fmla="*/ 105342 w 939446"/>
                  <a:gd name="connsiteY8" fmla="*/ 35699 h 394303"/>
                  <a:gd name="connsiteX0" fmla="*/ 105342 w 930539"/>
                  <a:gd name="connsiteY0" fmla="*/ 35556 h 408015"/>
                  <a:gd name="connsiteX1" fmla="*/ 170841 w 930539"/>
                  <a:gd name="connsiteY1" fmla="*/ 37759 h 408015"/>
                  <a:gd name="connsiteX2" fmla="*/ 198550 w 930539"/>
                  <a:gd name="connsiteY2" fmla="*/ 363341 h 408015"/>
                  <a:gd name="connsiteX3" fmla="*/ 711168 w 930539"/>
                  <a:gd name="connsiteY3" fmla="*/ 30832 h 408015"/>
                  <a:gd name="connsiteX4" fmla="*/ 632488 w 930539"/>
                  <a:gd name="connsiteY4" fmla="*/ 354209 h 408015"/>
                  <a:gd name="connsiteX5" fmla="*/ 750253 w 930539"/>
                  <a:gd name="connsiteY5" fmla="*/ 408015 h 408015"/>
                  <a:gd name="connsiteX6" fmla="*/ 669603 w 930539"/>
                  <a:gd name="connsiteY6" fmla="*/ 3120 h 408015"/>
                  <a:gd name="connsiteX7" fmla="*/ 223105 w 930539"/>
                  <a:gd name="connsiteY7" fmla="*/ 352594 h 408015"/>
                  <a:gd name="connsiteX8" fmla="*/ 105342 w 930539"/>
                  <a:gd name="connsiteY8" fmla="*/ 35556 h 408015"/>
                  <a:gd name="connsiteX0" fmla="*/ 105342 w 930539"/>
                  <a:gd name="connsiteY0" fmla="*/ 35556 h 408015"/>
                  <a:gd name="connsiteX1" fmla="*/ 170841 w 930539"/>
                  <a:gd name="connsiteY1" fmla="*/ 37759 h 408015"/>
                  <a:gd name="connsiteX2" fmla="*/ 229723 w 930539"/>
                  <a:gd name="connsiteY2" fmla="*/ 318314 h 408015"/>
                  <a:gd name="connsiteX3" fmla="*/ 711168 w 930539"/>
                  <a:gd name="connsiteY3" fmla="*/ 30832 h 408015"/>
                  <a:gd name="connsiteX4" fmla="*/ 632488 w 930539"/>
                  <a:gd name="connsiteY4" fmla="*/ 354209 h 408015"/>
                  <a:gd name="connsiteX5" fmla="*/ 750253 w 930539"/>
                  <a:gd name="connsiteY5" fmla="*/ 408015 h 408015"/>
                  <a:gd name="connsiteX6" fmla="*/ 669603 w 930539"/>
                  <a:gd name="connsiteY6" fmla="*/ 3120 h 408015"/>
                  <a:gd name="connsiteX7" fmla="*/ 223105 w 930539"/>
                  <a:gd name="connsiteY7" fmla="*/ 352594 h 408015"/>
                  <a:gd name="connsiteX8" fmla="*/ 105342 w 930539"/>
                  <a:gd name="connsiteY8" fmla="*/ 35556 h 408015"/>
                  <a:gd name="connsiteX0" fmla="*/ 105342 w 930539"/>
                  <a:gd name="connsiteY0" fmla="*/ 35556 h 408015"/>
                  <a:gd name="connsiteX1" fmla="*/ 170841 w 930539"/>
                  <a:gd name="connsiteY1" fmla="*/ 37759 h 408015"/>
                  <a:gd name="connsiteX2" fmla="*/ 229723 w 930539"/>
                  <a:gd name="connsiteY2" fmla="*/ 318314 h 408015"/>
                  <a:gd name="connsiteX3" fmla="*/ 711168 w 930539"/>
                  <a:gd name="connsiteY3" fmla="*/ 30832 h 408015"/>
                  <a:gd name="connsiteX4" fmla="*/ 632488 w 930539"/>
                  <a:gd name="connsiteY4" fmla="*/ 354209 h 408015"/>
                  <a:gd name="connsiteX5" fmla="*/ 750253 w 930539"/>
                  <a:gd name="connsiteY5" fmla="*/ 408015 h 408015"/>
                  <a:gd name="connsiteX6" fmla="*/ 669603 w 930539"/>
                  <a:gd name="connsiteY6" fmla="*/ 3120 h 408015"/>
                  <a:gd name="connsiteX7" fmla="*/ 223105 w 930539"/>
                  <a:gd name="connsiteY7" fmla="*/ 345666 h 408015"/>
                  <a:gd name="connsiteX8" fmla="*/ 105342 w 930539"/>
                  <a:gd name="connsiteY8" fmla="*/ 35556 h 408015"/>
                  <a:gd name="connsiteX0" fmla="*/ 105342 w 930539"/>
                  <a:gd name="connsiteY0" fmla="*/ 35556 h 408015"/>
                  <a:gd name="connsiteX1" fmla="*/ 170841 w 930539"/>
                  <a:gd name="connsiteY1" fmla="*/ 37759 h 408015"/>
                  <a:gd name="connsiteX2" fmla="*/ 181232 w 930539"/>
                  <a:gd name="connsiteY2" fmla="*/ 352951 h 408015"/>
                  <a:gd name="connsiteX3" fmla="*/ 711168 w 930539"/>
                  <a:gd name="connsiteY3" fmla="*/ 30832 h 408015"/>
                  <a:gd name="connsiteX4" fmla="*/ 632488 w 930539"/>
                  <a:gd name="connsiteY4" fmla="*/ 354209 h 408015"/>
                  <a:gd name="connsiteX5" fmla="*/ 750253 w 930539"/>
                  <a:gd name="connsiteY5" fmla="*/ 408015 h 408015"/>
                  <a:gd name="connsiteX6" fmla="*/ 669603 w 930539"/>
                  <a:gd name="connsiteY6" fmla="*/ 3120 h 408015"/>
                  <a:gd name="connsiteX7" fmla="*/ 223105 w 930539"/>
                  <a:gd name="connsiteY7" fmla="*/ 345666 h 408015"/>
                  <a:gd name="connsiteX8" fmla="*/ 105342 w 930539"/>
                  <a:gd name="connsiteY8" fmla="*/ 35556 h 408015"/>
                  <a:gd name="connsiteX0" fmla="*/ 105342 w 930539"/>
                  <a:gd name="connsiteY0" fmla="*/ 35556 h 408015"/>
                  <a:gd name="connsiteX1" fmla="*/ 170841 w 930539"/>
                  <a:gd name="connsiteY1" fmla="*/ 37759 h 408015"/>
                  <a:gd name="connsiteX2" fmla="*/ 229723 w 930539"/>
                  <a:gd name="connsiteY2" fmla="*/ 370269 h 408015"/>
                  <a:gd name="connsiteX3" fmla="*/ 711168 w 930539"/>
                  <a:gd name="connsiteY3" fmla="*/ 30832 h 408015"/>
                  <a:gd name="connsiteX4" fmla="*/ 632488 w 930539"/>
                  <a:gd name="connsiteY4" fmla="*/ 354209 h 408015"/>
                  <a:gd name="connsiteX5" fmla="*/ 750253 w 930539"/>
                  <a:gd name="connsiteY5" fmla="*/ 408015 h 408015"/>
                  <a:gd name="connsiteX6" fmla="*/ 669603 w 930539"/>
                  <a:gd name="connsiteY6" fmla="*/ 3120 h 408015"/>
                  <a:gd name="connsiteX7" fmla="*/ 223105 w 930539"/>
                  <a:gd name="connsiteY7" fmla="*/ 345666 h 408015"/>
                  <a:gd name="connsiteX8" fmla="*/ 105342 w 930539"/>
                  <a:gd name="connsiteY8" fmla="*/ 35556 h 408015"/>
                  <a:gd name="connsiteX0" fmla="*/ 105342 w 930539"/>
                  <a:gd name="connsiteY0" fmla="*/ 35556 h 408015"/>
                  <a:gd name="connsiteX1" fmla="*/ 170841 w 930539"/>
                  <a:gd name="connsiteY1" fmla="*/ 37759 h 408015"/>
                  <a:gd name="connsiteX2" fmla="*/ 229723 w 930539"/>
                  <a:gd name="connsiteY2" fmla="*/ 370269 h 408015"/>
                  <a:gd name="connsiteX3" fmla="*/ 711168 w 930539"/>
                  <a:gd name="connsiteY3" fmla="*/ 30832 h 408015"/>
                  <a:gd name="connsiteX4" fmla="*/ 632488 w 930539"/>
                  <a:gd name="connsiteY4" fmla="*/ 354209 h 408015"/>
                  <a:gd name="connsiteX5" fmla="*/ 750253 w 930539"/>
                  <a:gd name="connsiteY5" fmla="*/ 408015 h 408015"/>
                  <a:gd name="connsiteX6" fmla="*/ 669603 w 930539"/>
                  <a:gd name="connsiteY6" fmla="*/ 3120 h 408015"/>
                  <a:gd name="connsiteX7" fmla="*/ 223105 w 930539"/>
                  <a:gd name="connsiteY7" fmla="*/ 345666 h 408015"/>
                  <a:gd name="connsiteX8" fmla="*/ 105342 w 930539"/>
                  <a:gd name="connsiteY8" fmla="*/ 35556 h 408015"/>
                  <a:gd name="connsiteX0" fmla="*/ 105342 w 930539"/>
                  <a:gd name="connsiteY0" fmla="*/ 35556 h 408015"/>
                  <a:gd name="connsiteX1" fmla="*/ 170841 w 930539"/>
                  <a:gd name="connsiteY1" fmla="*/ 37759 h 408015"/>
                  <a:gd name="connsiteX2" fmla="*/ 229723 w 930539"/>
                  <a:gd name="connsiteY2" fmla="*/ 370269 h 408015"/>
                  <a:gd name="connsiteX3" fmla="*/ 711168 w 930539"/>
                  <a:gd name="connsiteY3" fmla="*/ 30832 h 408015"/>
                  <a:gd name="connsiteX4" fmla="*/ 632488 w 930539"/>
                  <a:gd name="connsiteY4" fmla="*/ 354209 h 408015"/>
                  <a:gd name="connsiteX5" fmla="*/ 750253 w 930539"/>
                  <a:gd name="connsiteY5" fmla="*/ 408015 h 408015"/>
                  <a:gd name="connsiteX6" fmla="*/ 669603 w 930539"/>
                  <a:gd name="connsiteY6" fmla="*/ 3120 h 408015"/>
                  <a:gd name="connsiteX7" fmla="*/ 223105 w 930539"/>
                  <a:gd name="connsiteY7" fmla="*/ 345666 h 408015"/>
                  <a:gd name="connsiteX8" fmla="*/ 105342 w 930539"/>
                  <a:gd name="connsiteY8" fmla="*/ 35556 h 408015"/>
                  <a:gd name="connsiteX0" fmla="*/ 105342 w 930539"/>
                  <a:gd name="connsiteY0" fmla="*/ 35556 h 408015"/>
                  <a:gd name="connsiteX1" fmla="*/ 170841 w 930539"/>
                  <a:gd name="connsiteY1" fmla="*/ 37759 h 408015"/>
                  <a:gd name="connsiteX2" fmla="*/ 229723 w 930539"/>
                  <a:gd name="connsiteY2" fmla="*/ 370269 h 408015"/>
                  <a:gd name="connsiteX3" fmla="*/ 711168 w 930539"/>
                  <a:gd name="connsiteY3" fmla="*/ 30832 h 408015"/>
                  <a:gd name="connsiteX4" fmla="*/ 632488 w 930539"/>
                  <a:gd name="connsiteY4" fmla="*/ 354209 h 408015"/>
                  <a:gd name="connsiteX5" fmla="*/ 750253 w 930539"/>
                  <a:gd name="connsiteY5" fmla="*/ 408015 h 408015"/>
                  <a:gd name="connsiteX6" fmla="*/ 669603 w 930539"/>
                  <a:gd name="connsiteY6" fmla="*/ 3120 h 408015"/>
                  <a:gd name="connsiteX7" fmla="*/ 223105 w 930539"/>
                  <a:gd name="connsiteY7" fmla="*/ 345666 h 408015"/>
                  <a:gd name="connsiteX8" fmla="*/ 105342 w 930539"/>
                  <a:gd name="connsiteY8" fmla="*/ 35556 h 408015"/>
                  <a:gd name="connsiteX0" fmla="*/ 111595 w 936792"/>
                  <a:gd name="connsiteY0" fmla="*/ 35556 h 408015"/>
                  <a:gd name="connsiteX1" fmla="*/ 177094 w 936792"/>
                  <a:gd name="connsiteY1" fmla="*/ 37759 h 408015"/>
                  <a:gd name="connsiteX2" fmla="*/ 235976 w 936792"/>
                  <a:gd name="connsiteY2" fmla="*/ 370269 h 408015"/>
                  <a:gd name="connsiteX3" fmla="*/ 717421 w 936792"/>
                  <a:gd name="connsiteY3" fmla="*/ 30832 h 408015"/>
                  <a:gd name="connsiteX4" fmla="*/ 638741 w 936792"/>
                  <a:gd name="connsiteY4" fmla="*/ 354209 h 408015"/>
                  <a:gd name="connsiteX5" fmla="*/ 756506 w 936792"/>
                  <a:gd name="connsiteY5" fmla="*/ 408015 h 408015"/>
                  <a:gd name="connsiteX6" fmla="*/ 675856 w 936792"/>
                  <a:gd name="connsiteY6" fmla="*/ 3120 h 408015"/>
                  <a:gd name="connsiteX7" fmla="*/ 212040 w 936792"/>
                  <a:gd name="connsiteY7" fmla="*/ 373375 h 408015"/>
                  <a:gd name="connsiteX8" fmla="*/ 111595 w 936792"/>
                  <a:gd name="connsiteY8" fmla="*/ 35556 h 408015"/>
                  <a:gd name="connsiteX0" fmla="*/ 104452 w 929649"/>
                  <a:gd name="connsiteY0" fmla="*/ 35556 h 408015"/>
                  <a:gd name="connsiteX1" fmla="*/ 169951 w 929649"/>
                  <a:gd name="connsiteY1" fmla="*/ 37759 h 408015"/>
                  <a:gd name="connsiteX2" fmla="*/ 228833 w 929649"/>
                  <a:gd name="connsiteY2" fmla="*/ 370269 h 408015"/>
                  <a:gd name="connsiteX3" fmla="*/ 710278 w 929649"/>
                  <a:gd name="connsiteY3" fmla="*/ 30832 h 408015"/>
                  <a:gd name="connsiteX4" fmla="*/ 631598 w 929649"/>
                  <a:gd name="connsiteY4" fmla="*/ 354209 h 408015"/>
                  <a:gd name="connsiteX5" fmla="*/ 749363 w 929649"/>
                  <a:gd name="connsiteY5" fmla="*/ 408015 h 408015"/>
                  <a:gd name="connsiteX6" fmla="*/ 668713 w 929649"/>
                  <a:gd name="connsiteY6" fmla="*/ 3120 h 408015"/>
                  <a:gd name="connsiteX7" fmla="*/ 204897 w 929649"/>
                  <a:gd name="connsiteY7" fmla="*/ 373375 h 408015"/>
                  <a:gd name="connsiteX8" fmla="*/ 104452 w 929649"/>
                  <a:gd name="connsiteY8" fmla="*/ 35556 h 408015"/>
                  <a:gd name="connsiteX0" fmla="*/ 110549 w 935746"/>
                  <a:gd name="connsiteY0" fmla="*/ 35556 h 408015"/>
                  <a:gd name="connsiteX1" fmla="*/ 176048 w 935746"/>
                  <a:gd name="connsiteY1" fmla="*/ 37759 h 408015"/>
                  <a:gd name="connsiteX2" fmla="*/ 234930 w 935746"/>
                  <a:gd name="connsiteY2" fmla="*/ 370269 h 408015"/>
                  <a:gd name="connsiteX3" fmla="*/ 716375 w 935746"/>
                  <a:gd name="connsiteY3" fmla="*/ 3083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76048 w 935746"/>
                  <a:gd name="connsiteY1" fmla="*/ 37759 h 408015"/>
                  <a:gd name="connsiteX2" fmla="*/ 234930 w 935746"/>
                  <a:gd name="connsiteY2" fmla="*/ 370269 h 408015"/>
                  <a:gd name="connsiteX3" fmla="*/ 716375 w 935746"/>
                  <a:gd name="connsiteY3" fmla="*/ 3083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76048 w 935746"/>
                  <a:gd name="connsiteY1" fmla="*/ 37759 h 408015"/>
                  <a:gd name="connsiteX2" fmla="*/ 234930 w 935746"/>
                  <a:gd name="connsiteY2" fmla="*/ 370269 h 408015"/>
                  <a:gd name="connsiteX3" fmla="*/ 719839 w 935746"/>
                  <a:gd name="connsiteY3" fmla="*/ 312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48339 w 935746"/>
                  <a:gd name="connsiteY1" fmla="*/ 65468 h 408015"/>
                  <a:gd name="connsiteX2" fmla="*/ 234930 w 935746"/>
                  <a:gd name="connsiteY2" fmla="*/ 370269 h 408015"/>
                  <a:gd name="connsiteX3" fmla="*/ 719839 w 935746"/>
                  <a:gd name="connsiteY3" fmla="*/ 312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48339 w 935746"/>
                  <a:gd name="connsiteY1" fmla="*/ 65468 h 408015"/>
                  <a:gd name="connsiteX2" fmla="*/ 234930 w 935746"/>
                  <a:gd name="connsiteY2" fmla="*/ 370269 h 408015"/>
                  <a:gd name="connsiteX3" fmla="*/ 719839 w 935746"/>
                  <a:gd name="connsiteY3" fmla="*/ 312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48339 w 935746"/>
                  <a:gd name="connsiteY1" fmla="*/ 65468 h 408015"/>
                  <a:gd name="connsiteX2" fmla="*/ 234930 w 935746"/>
                  <a:gd name="connsiteY2" fmla="*/ 370269 h 408015"/>
                  <a:gd name="connsiteX3" fmla="*/ 719839 w 935746"/>
                  <a:gd name="connsiteY3" fmla="*/ 312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48339 w 935746"/>
                  <a:gd name="connsiteY1" fmla="*/ 65468 h 408015"/>
                  <a:gd name="connsiteX2" fmla="*/ 234930 w 935746"/>
                  <a:gd name="connsiteY2" fmla="*/ 370269 h 408015"/>
                  <a:gd name="connsiteX3" fmla="*/ 719839 w 935746"/>
                  <a:gd name="connsiteY3" fmla="*/ 312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48339 w 935746"/>
                  <a:gd name="connsiteY1" fmla="*/ 65468 h 408015"/>
                  <a:gd name="connsiteX2" fmla="*/ 234930 w 935746"/>
                  <a:gd name="connsiteY2" fmla="*/ 370269 h 408015"/>
                  <a:gd name="connsiteX3" fmla="*/ 719839 w 935746"/>
                  <a:gd name="connsiteY3" fmla="*/ 312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48339 w 935746"/>
                  <a:gd name="connsiteY1" fmla="*/ 65468 h 408015"/>
                  <a:gd name="connsiteX2" fmla="*/ 234930 w 935746"/>
                  <a:gd name="connsiteY2" fmla="*/ 370269 h 408015"/>
                  <a:gd name="connsiteX3" fmla="*/ 719839 w 935746"/>
                  <a:gd name="connsiteY3" fmla="*/ 312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31020 w 935746"/>
                  <a:gd name="connsiteY1" fmla="*/ 79322 h 408015"/>
                  <a:gd name="connsiteX2" fmla="*/ 234930 w 935746"/>
                  <a:gd name="connsiteY2" fmla="*/ 370269 h 408015"/>
                  <a:gd name="connsiteX3" fmla="*/ 719839 w 935746"/>
                  <a:gd name="connsiteY3" fmla="*/ 312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72992 w 912044"/>
                  <a:gd name="connsiteY0" fmla="*/ 35556 h 408015"/>
                  <a:gd name="connsiteX1" fmla="*/ 107318 w 912044"/>
                  <a:gd name="connsiteY1" fmla="*/ 79322 h 408015"/>
                  <a:gd name="connsiteX2" fmla="*/ 211228 w 912044"/>
                  <a:gd name="connsiteY2" fmla="*/ 370269 h 408015"/>
                  <a:gd name="connsiteX3" fmla="*/ 696137 w 912044"/>
                  <a:gd name="connsiteY3" fmla="*/ 3122 h 408015"/>
                  <a:gd name="connsiteX4" fmla="*/ 613993 w 912044"/>
                  <a:gd name="connsiteY4" fmla="*/ 354209 h 408015"/>
                  <a:gd name="connsiteX5" fmla="*/ 731758 w 912044"/>
                  <a:gd name="connsiteY5" fmla="*/ 408015 h 408015"/>
                  <a:gd name="connsiteX6" fmla="*/ 651108 w 912044"/>
                  <a:gd name="connsiteY6" fmla="*/ 3120 h 408015"/>
                  <a:gd name="connsiteX7" fmla="*/ 187292 w 912044"/>
                  <a:gd name="connsiteY7" fmla="*/ 373375 h 408015"/>
                  <a:gd name="connsiteX8" fmla="*/ 72992 w 912044"/>
                  <a:gd name="connsiteY8" fmla="*/ 35556 h 408015"/>
                  <a:gd name="connsiteX0" fmla="*/ 95861 w 934913"/>
                  <a:gd name="connsiteY0" fmla="*/ 35556 h 408015"/>
                  <a:gd name="connsiteX1" fmla="*/ 130187 w 934913"/>
                  <a:gd name="connsiteY1" fmla="*/ 79322 h 408015"/>
                  <a:gd name="connsiteX2" fmla="*/ 234097 w 934913"/>
                  <a:gd name="connsiteY2" fmla="*/ 370269 h 408015"/>
                  <a:gd name="connsiteX3" fmla="*/ 719006 w 934913"/>
                  <a:gd name="connsiteY3" fmla="*/ 3122 h 408015"/>
                  <a:gd name="connsiteX4" fmla="*/ 636862 w 934913"/>
                  <a:gd name="connsiteY4" fmla="*/ 354209 h 408015"/>
                  <a:gd name="connsiteX5" fmla="*/ 754627 w 934913"/>
                  <a:gd name="connsiteY5" fmla="*/ 408015 h 408015"/>
                  <a:gd name="connsiteX6" fmla="*/ 673977 w 934913"/>
                  <a:gd name="connsiteY6" fmla="*/ 3120 h 408015"/>
                  <a:gd name="connsiteX7" fmla="*/ 210161 w 934913"/>
                  <a:gd name="connsiteY7" fmla="*/ 373375 h 408015"/>
                  <a:gd name="connsiteX8" fmla="*/ 95861 w 934913"/>
                  <a:gd name="connsiteY8" fmla="*/ 35556 h 408015"/>
                  <a:gd name="connsiteX0" fmla="*/ 128786 w 967838"/>
                  <a:gd name="connsiteY0" fmla="*/ 35556 h 408015"/>
                  <a:gd name="connsiteX1" fmla="*/ 163112 w 967838"/>
                  <a:gd name="connsiteY1" fmla="*/ 79322 h 408015"/>
                  <a:gd name="connsiteX2" fmla="*/ 267022 w 967838"/>
                  <a:gd name="connsiteY2" fmla="*/ 370269 h 408015"/>
                  <a:gd name="connsiteX3" fmla="*/ 751931 w 967838"/>
                  <a:gd name="connsiteY3" fmla="*/ 3122 h 408015"/>
                  <a:gd name="connsiteX4" fmla="*/ 669787 w 967838"/>
                  <a:gd name="connsiteY4" fmla="*/ 354209 h 408015"/>
                  <a:gd name="connsiteX5" fmla="*/ 787552 w 967838"/>
                  <a:gd name="connsiteY5" fmla="*/ 408015 h 408015"/>
                  <a:gd name="connsiteX6" fmla="*/ 706902 w 967838"/>
                  <a:gd name="connsiteY6" fmla="*/ 3120 h 408015"/>
                  <a:gd name="connsiteX7" fmla="*/ 243086 w 967838"/>
                  <a:gd name="connsiteY7" fmla="*/ 373375 h 408015"/>
                  <a:gd name="connsiteX8" fmla="*/ 128786 w 967838"/>
                  <a:gd name="connsiteY8" fmla="*/ 35556 h 408015"/>
                  <a:gd name="connsiteX0" fmla="*/ 100245 w 939297"/>
                  <a:gd name="connsiteY0" fmla="*/ 35556 h 408015"/>
                  <a:gd name="connsiteX1" fmla="*/ 134571 w 939297"/>
                  <a:gd name="connsiteY1" fmla="*/ 79322 h 408015"/>
                  <a:gd name="connsiteX2" fmla="*/ 238481 w 939297"/>
                  <a:gd name="connsiteY2" fmla="*/ 370269 h 408015"/>
                  <a:gd name="connsiteX3" fmla="*/ 723390 w 939297"/>
                  <a:gd name="connsiteY3" fmla="*/ 3122 h 408015"/>
                  <a:gd name="connsiteX4" fmla="*/ 641246 w 939297"/>
                  <a:gd name="connsiteY4" fmla="*/ 354209 h 408015"/>
                  <a:gd name="connsiteX5" fmla="*/ 759011 w 939297"/>
                  <a:gd name="connsiteY5" fmla="*/ 408015 h 408015"/>
                  <a:gd name="connsiteX6" fmla="*/ 678361 w 939297"/>
                  <a:gd name="connsiteY6" fmla="*/ 3120 h 408015"/>
                  <a:gd name="connsiteX7" fmla="*/ 214545 w 939297"/>
                  <a:gd name="connsiteY7" fmla="*/ 373375 h 408015"/>
                  <a:gd name="connsiteX8" fmla="*/ 100245 w 939297"/>
                  <a:gd name="connsiteY8" fmla="*/ 35556 h 408015"/>
                  <a:gd name="connsiteX0" fmla="*/ 100245 w 939297"/>
                  <a:gd name="connsiteY0" fmla="*/ 35556 h 408015"/>
                  <a:gd name="connsiteX1" fmla="*/ 106862 w 939297"/>
                  <a:gd name="connsiteY1" fmla="*/ 51613 h 408015"/>
                  <a:gd name="connsiteX2" fmla="*/ 238481 w 939297"/>
                  <a:gd name="connsiteY2" fmla="*/ 370269 h 408015"/>
                  <a:gd name="connsiteX3" fmla="*/ 723390 w 939297"/>
                  <a:gd name="connsiteY3" fmla="*/ 3122 h 408015"/>
                  <a:gd name="connsiteX4" fmla="*/ 641246 w 939297"/>
                  <a:gd name="connsiteY4" fmla="*/ 354209 h 408015"/>
                  <a:gd name="connsiteX5" fmla="*/ 759011 w 939297"/>
                  <a:gd name="connsiteY5" fmla="*/ 408015 h 408015"/>
                  <a:gd name="connsiteX6" fmla="*/ 678361 w 939297"/>
                  <a:gd name="connsiteY6" fmla="*/ 3120 h 408015"/>
                  <a:gd name="connsiteX7" fmla="*/ 214545 w 939297"/>
                  <a:gd name="connsiteY7" fmla="*/ 373375 h 408015"/>
                  <a:gd name="connsiteX8" fmla="*/ 100245 w 939297"/>
                  <a:gd name="connsiteY8" fmla="*/ 35556 h 408015"/>
                  <a:gd name="connsiteX0" fmla="*/ 100245 w 939297"/>
                  <a:gd name="connsiteY0" fmla="*/ 35556 h 408015"/>
                  <a:gd name="connsiteX1" fmla="*/ 106862 w 939297"/>
                  <a:gd name="connsiteY1" fmla="*/ 51613 h 408015"/>
                  <a:gd name="connsiteX2" fmla="*/ 238481 w 939297"/>
                  <a:gd name="connsiteY2" fmla="*/ 370269 h 408015"/>
                  <a:gd name="connsiteX3" fmla="*/ 723390 w 939297"/>
                  <a:gd name="connsiteY3" fmla="*/ 3122 h 408015"/>
                  <a:gd name="connsiteX4" fmla="*/ 641246 w 939297"/>
                  <a:gd name="connsiteY4" fmla="*/ 354209 h 408015"/>
                  <a:gd name="connsiteX5" fmla="*/ 759011 w 939297"/>
                  <a:gd name="connsiteY5" fmla="*/ 408015 h 408015"/>
                  <a:gd name="connsiteX6" fmla="*/ 678361 w 939297"/>
                  <a:gd name="connsiteY6" fmla="*/ 3120 h 408015"/>
                  <a:gd name="connsiteX7" fmla="*/ 214545 w 939297"/>
                  <a:gd name="connsiteY7" fmla="*/ 373375 h 408015"/>
                  <a:gd name="connsiteX8" fmla="*/ 100245 w 939297"/>
                  <a:gd name="connsiteY8" fmla="*/ 35556 h 408015"/>
                  <a:gd name="connsiteX0" fmla="*/ 100245 w 939297"/>
                  <a:gd name="connsiteY0" fmla="*/ 35556 h 408015"/>
                  <a:gd name="connsiteX1" fmla="*/ 106862 w 939297"/>
                  <a:gd name="connsiteY1" fmla="*/ 51613 h 408015"/>
                  <a:gd name="connsiteX2" fmla="*/ 238481 w 939297"/>
                  <a:gd name="connsiteY2" fmla="*/ 370269 h 408015"/>
                  <a:gd name="connsiteX3" fmla="*/ 723390 w 939297"/>
                  <a:gd name="connsiteY3" fmla="*/ 3122 h 408015"/>
                  <a:gd name="connsiteX4" fmla="*/ 641246 w 939297"/>
                  <a:gd name="connsiteY4" fmla="*/ 354209 h 408015"/>
                  <a:gd name="connsiteX5" fmla="*/ 759011 w 939297"/>
                  <a:gd name="connsiteY5" fmla="*/ 408015 h 408015"/>
                  <a:gd name="connsiteX6" fmla="*/ 678361 w 939297"/>
                  <a:gd name="connsiteY6" fmla="*/ 3120 h 408015"/>
                  <a:gd name="connsiteX7" fmla="*/ 214545 w 939297"/>
                  <a:gd name="connsiteY7" fmla="*/ 373375 h 408015"/>
                  <a:gd name="connsiteX8" fmla="*/ 100245 w 939297"/>
                  <a:gd name="connsiteY8" fmla="*/ 35556 h 408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9297" h="408015">
                    <a:moveTo>
                      <a:pt x="100245" y="35556"/>
                    </a:moveTo>
                    <a:cubicBezTo>
                      <a:pt x="114625" y="43120"/>
                      <a:pt x="70545" y="31618"/>
                      <a:pt x="106862" y="51613"/>
                    </a:cubicBezTo>
                    <a:cubicBezTo>
                      <a:pt x="-33466" y="158199"/>
                      <a:pt x="88391" y="327552"/>
                      <a:pt x="238481" y="370269"/>
                    </a:cubicBezTo>
                    <a:cubicBezTo>
                      <a:pt x="557663" y="393728"/>
                      <a:pt x="507902" y="68144"/>
                      <a:pt x="723390" y="3122"/>
                    </a:cubicBezTo>
                    <a:cubicBezTo>
                      <a:pt x="925763" y="76277"/>
                      <a:pt x="764454" y="315691"/>
                      <a:pt x="641246" y="354209"/>
                    </a:cubicBezTo>
                    <a:lnTo>
                      <a:pt x="759011" y="408015"/>
                    </a:lnTo>
                    <a:cubicBezTo>
                      <a:pt x="1071565" y="249959"/>
                      <a:pt x="933843" y="-32788"/>
                      <a:pt x="678361" y="3120"/>
                    </a:cubicBezTo>
                    <a:cubicBezTo>
                      <a:pt x="352883" y="45721"/>
                      <a:pt x="452907" y="357578"/>
                      <a:pt x="214545" y="373375"/>
                    </a:cubicBezTo>
                    <a:cubicBezTo>
                      <a:pt x="-23817" y="389172"/>
                      <a:pt x="-66009" y="91589"/>
                      <a:pt x="100245" y="3555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70C0"/>
                  </a:gs>
                  <a:gs pos="9000">
                    <a:srgbClr val="29C7FF"/>
                  </a:gs>
                  <a:gs pos="51000">
                    <a:srgbClr val="33CAFF"/>
                  </a:gs>
                  <a:gs pos="32000">
                    <a:srgbClr val="0070C0"/>
                  </a:gs>
                  <a:gs pos="97000">
                    <a:srgbClr val="005EA4"/>
                  </a:gs>
                  <a:gs pos="89000">
                    <a:srgbClr val="0070C0"/>
                  </a:gs>
                </a:gsLst>
                <a:lin ang="0" scaled="1"/>
                <a:tileRect/>
              </a:gradFill>
              <a:ln w="6350" cap="flat" cmpd="sng" algn="ctr">
                <a:solidFill>
                  <a:srgbClr val="1C2638">
                    <a:lumMod val="75000"/>
                    <a:lumOff val="25000"/>
                    <a:alpha val="77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sp>
            <p:nvSpPr>
              <p:cNvPr id="75" name="Ovaal 74"/>
              <p:cNvSpPr/>
              <p:nvPr userDrawn="1"/>
            </p:nvSpPr>
            <p:spPr>
              <a:xfrm flipV="1">
                <a:off x="11012327" y="2951356"/>
                <a:ext cx="45720" cy="45720"/>
              </a:xfrm>
              <a:prstGeom prst="ellipse">
                <a:avLst/>
              </a:prstGeom>
              <a:solidFill>
                <a:srgbClr val="1D1D1B">
                  <a:lumMod val="50000"/>
                  <a:lumOff val="50000"/>
                  <a:alpha val="99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46" name="Instruction Image Cropping"/>
            <p:cNvGrpSpPr/>
            <p:nvPr/>
          </p:nvGrpSpPr>
          <p:grpSpPr>
            <a:xfrm>
              <a:off x="12346582" y="-5444"/>
              <a:ext cx="2733484" cy="6868888"/>
              <a:chOff x="12346582" y="-5444"/>
              <a:chExt cx="2733484" cy="6868888"/>
            </a:xfrm>
          </p:grpSpPr>
          <p:grpSp>
            <p:nvGrpSpPr>
              <p:cNvPr id="47" name="bijsnijden"/>
              <p:cNvGrpSpPr/>
              <p:nvPr userDrawn="1"/>
            </p:nvGrpSpPr>
            <p:grpSpPr>
              <a:xfrm>
                <a:off x="12346582" y="5717305"/>
                <a:ext cx="779464" cy="828260"/>
                <a:chOff x="13143038" y="5655940"/>
                <a:chExt cx="779464" cy="828260"/>
              </a:xfrm>
            </p:grpSpPr>
            <p:grpSp>
              <p:nvGrpSpPr>
                <p:cNvPr id="64" name="Groep 63"/>
                <p:cNvGrpSpPr/>
                <p:nvPr userDrawn="1"/>
              </p:nvGrpSpPr>
              <p:grpSpPr>
                <a:xfrm>
                  <a:off x="13284702" y="5655940"/>
                  <a:ext cx="518384" cy="468745"/>
                  <a:chOff x="13352037" y="5715656"/>
                  <a:chExt cx="383714" cy="346970"/>
                </a:xfrm>
              </p:grpSpPr>
              <p:sp>
                <p:nvSpPr>
                  <p:cNvPr id="67" name="Rechthoek 66"/>
                  <p:cNvSpPr/>
                  <p:nvPr userDrawn="1"/>
                </p:nvSpPr>
                <p:spPr>
                  <a:xfrm>
                    <a:off x="13377881" y="5717160"/>
                    <a:ext cx="324866" cy="270269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>
                        <a:lumMod val="65000"/>
                        <a:lumOff val="35000"/>
                      </a:schemeClr>
                    </a:solidFill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350"/>
                      </a:spcBef>
                      <a:spcAft>
                        <a:spcPts val="350"/>
                      </a:spcAft>
                    </a:pPr>
                    <a:endParaRPr lang="en-US" sz="1600" err="1">
                      <a:solidFill>
                        <a:schemeClr val="accent4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endParaRPr>
                  </a:p>
                </p:txBody>
              </p:sp>
              <p:pic>
                <p:nvPicPr>
                  <p:cNvPr id="68" name="Afbeelding 67"/>
                  <p:cNvPicPr>
                    <a:picLocks noChangeAspect="1"/>
                  </p:cNvPicPr>
                  <p:nvPr userDrawn="1"/>
                </p:nvPicPr>
                <p:blipFill rotWithShape="1">
                  <a:blip r:embed="rId2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 r="15865"/>
                  <a:stretch/>
                </p:blipFill>
                <p:spPr>
                  <a:xfrm>
                    <a:off x="13352037" y="5715656"/>
                    <a:ext cx="231884" cy="275611"/>
                  </a:xfrm>
                  <a:prstGeom prst="rect">
                    <a:avLst/>
                  </a:prstGeom>
                  <a:ln w="9525">
                    <a:solidFill>
                      <a:schemeClr val="bg1">
                        <a:lumMod val="50000"/>
                      </a:schemeClr>
                    </a:solidFill>
                  </a:ln>
                </p:spPr>
              </p:pic>
              <p:sp>
                <p:nvSpPr>
                  <p:cNvPr id="69" name="L-vorm 68"/>
                  <p:cNvSpPr/>
                  <p:nvPr userDrawn="1"/>
                </p:nvSpPr>
                <p:spPr>
                  <a:xfrm rot="5400000">
                    <a:off x="13595231" y="5922107"/>
                    <a:ext cx="129209" cy="151830"/>
                  </a:xfrm>
                  <a:prstGeom prst="corner">
                    <a:avLst>
                      <a:gd name="adj1" fmla="val 14726"/>
                      <a:gd name="adj2" fmla="val 14726"/>
                    </a:avLst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350"/>
                      </a:spcBef>
                      <a:spcAft>
                        <a:spcPts val="350"/>
                      </a:spcAft>
                    </a:pPr>
                    <a:endParaRPr lang="en-US" sz="1600" err="1">
                      <a:solidFill>
                        <a:schemeClr val="accent4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70" name="L-vorm 69"/>
                  <p:cNvSpPr/>
                  <p:nvPr userDrawn="1"/>
                </p:nvSpPr>
                <p:spPr>
                  <a:xfrm rot="5400000" flipH="1" flipV="1">
                    <a:off x="13571296" y="5896455"/>
                    <a:ext cx="129209" cy="151830"/>
                  </a:xfrm>
                  <a:prstGeom prst="corner">
                    <a:avLst>
                      <a:gd name="adj1" fmla="val 14726"/>
                      <a:gd name="adj2" fmla="val 14726"/>
                    </a:avLst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350"/>
                      </a:spcBef>
                      <a:spcAft>
                        <a:spcPts val="350"/>
                      </a:spcAft>
                    </a:pPr>
                    <a:endParaRPr lang="en-US" sz="1600" err="1">
                      <a:solidFill>
                        <a:schemeClr val="accent4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endParaRPr>
                  </a:p>
                </p:txBody>
              </p:sp>
            </p:grpSp>
            <p:sp>
              <p:nvSpPr>
                <p:cNvPr id="65" name="Tekstvak 76"/>
                <p:cNvSpPr txBox="1"/>
                <p:nvPr userDrawn="1"/>
              </p:nvSpPr>
              <p:spPr>
                <a:xfrm>
                  <a:off x="13143038" y="6165304"/>
                  <a:ext cx="779464" cy="261610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50" b="1" i="0" u="none" strike="noStrike" kern="0" cap="none" spc="0" normalizeH="0" baseline="0" noProof="0">
                      <a:ln>
                        <a:noFill/>
                      </a:ln>
                      <a:effectLst>
                        <a:outerShdw blurRad="25400" algn="ctr" rotWithShape="0">
                          <a:prstClr val="white"/>
                        </a:outerShdw>
                      </a:effectLst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Crop</a:t>
                  </a:r>
                </a:p>
              </p:txBody>
            </p:sp>
            <p:sp>
              <p:nvSpPr>
                <p:cNvPr id="66" name="Rechthoekige driehoek 65"/>
                <p:cNvSpPr/>
                <p:nvPr userDrawn="1"/>
              </p:nvSpPr>
              <p:spPr>
                <a:xfrm rot="18900000">
                  <a:off x="13499178" y="6417015"/>
                  <a:ext cx="67185" cy="67185"/>
                </a:xfrm>
                <a:prstGeom prst="rtTriangl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8" name="Rechthoek 47"/>
              <p:cNvSpPr/>
              <p:nvPr/>
            </p:nvSpPr>
            <p:spPr>
              <a:xfrm>
                <a:off x="12483705" y="-5444"/>
                <a:ext cx="2584447" cy="28846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80000"/>
                  </a:lnSpc>
                </a:pPr>
                <a:r>
                  <a:rPr lang="nl-NL" sz="1600" b="1" kern="0">
                    <a:solidFill>
                      <a:srgbClr val="3560AB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INSERT VIDEO</a:t>
                </a:r>
              </a:p>
            </p:txBody>
          </p:sp>
          <p:sp>
            <p:nvSpPr>
              <p:cNvPr id="49" name="Tekstvak 33"/>
              <p:cNvSpPr txBox="1"/>
              <p:nvPr/>
            </p:nvSpPr>
            <p:spPr>
              <a:xfrm>
                <a:off x="12483705" y="974289"/>
                <a:ext cx="2584447" cy="22459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lick</a:t>
                </a:r>
                <a:r>
                  <a:rPr kumimoji="0" lang="en-US" sz="1200" b="0" i="0" u="none" strike="noStrike" kern="0" cap="none" spc="0" normalizeH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on the icon to insert a video</a:t>
                </a: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0" name="Tekstvak 33"/>
              <p:cNvSpPr txBox="1"/>
              <p:nvPr/>
            </p:nvSpPr>
            <p:spPr>
              <a:xfrm>
                <a:off x="12479311" y="3056156"/>
                <a:ext cx="2592287" cy="44485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lect</a:t>
                </a:r>
                <a:r>
                  <a:rPr kumimoji="0" lang="en-US" sz="1200" b="0" i="0" u="none" strike="noStrike" kern="0" cap="none" spc="0" normalizeH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the video you want to use </a:t>
                </a:r>
                <a:br>
                  <a:rPr kumimoji="0" lang="en-US" sz="1200" b="0" i="0" u="none" strike="noStrike" kern="0" cap="none" spc="0" normalizeH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</a:br>
                <a:r>
                  <a:rPr kumimoji="0" lang="en-US" sz="1200" b="0" i="0" u="none" strike="noStrike" kern="0" cap="none" spc="0" normalizeH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and click on </a:t>
                </a:r>
                <a:r>
                  <a:rPr lang="en-US" sz="1200" b="1" ker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‘</a:t>
                </a:r>
                <a:r>
                  <a:rPr lang="en-US" sz="1200" b="1" kern="0" noProof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Insert’</a:t>
                </a:r>
                <a:endParaRPr kumimoji="0" lang="nl-NL" sz="1200" b="1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1" name="Ovaal 50"/>
              <p:cNvSpPr/>
              <p:nvPr/>
            </p:nvSpPr>
            <p:spPr>
              <a:xfrm>
                <a:off x="12483705" y="491007"/>
                <a:ext cx="359927" cy="359927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1</a:t>
                </a:r>
              </a:p>
            </p:txBody>
          </p:sp>
          <p:sp>
            <p:nvSpPr>
              <p:cNvPr id="52" name="Ovaal 51"/>
              <p:cNvSpPr/>
              <p:nvPr/>
            </p:nvSpPr>
            <p:spPr>
              <a:xfrm>
                <a:off x="12488780" y="2499796"/>
                <a:ext cx="359927" cy="359927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2</a:t>
                </a:r>
              </a:p>
            </p:txBody>
          </p:sp>
          <p:cxnSp>
            <p:nvCxnSpPr>
              <p:cNvPr id="53" name="Rechte verbindingslijn 52"/>
              <p:cNvCxnSpPr/>
              <p:nvPr/>
            </p:nvCxnSpPr>
            <p:spPr>
              <a:xfrm>
                <a:off x="12487778" y="283020"/>
                <a:ext cx="2592288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3560AB"/>
                </a:solidFill>
                <a:prstDash val="solid"/>
              </a:ln>
              <a:effectLst/>
            </p:spPr>
          </p:cxnSp>
          <p:cxnSp>
            <p:nvCxnSpPr>
              <p:cNvPr id="54" name="Rechte verbindingslijn 53"/>
              <p:cNvCxnSpPr/>
              <p:nvPr/>
            </p:nvCxnSpPr>
            <p:spPr>
              <a:xfrm>
                <a:off x="12479311" y="2303362"/>
                <a:ext cx="2592288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3560AB"/>
                </a:solidFill>
                <a:prstDash val="solid"/>
              </a:ln>
              <a:effectLst/>
            </p:spPr>
          </p:cxnSp>
          <p:cxnSp>
            <p:nvCxnSpPr>
              <p:cNvPr id="55" name="Rechte verbindingslijn 54"/>
              <p:cNvCxnSpPr/>
              <p:nvPr/>
            </p:nvCxnSpPr>
            <p:spPr>
              <a:xfrm>
                <a:off x="12470972" y="4334476"/>
                <a:ext cx="2608001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3560AB"/>
                </a:solidFill>
                <a:prstDash val="solid"/>
              </a:ln>
              <a:effectLst/>
            </p:spPr>
          </p:cxnSp>
          <p:sp>
            <p:nvSpPr>
              <p:cNvPr id="56" name="Tekstvak 33"/>
              <p:cNvSpPr txBox="1"/>
              <p:nvPr/>
            </p:nvSpPr>
            <p:spPr>
              <a:xfrm>
                <a:off x="12479311" y="5017802"/>
                <a:ext cx="2588841" cy="40000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ker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If you want to scale or drag the video</a:t>
                </a:r>
                <a:br>
                  <a:rPr lang="en-US" sz="1200" kern="0">
                    <a:latin typeface="Segoe UI Light" panose="020B0502040204020203" pitchFamily="34" charset="0"/>
                    <a:cs typeface="Segoe UI Light" panose="020B0502040204020203" pitchFamily="34" charset="0"/>
                  </a:rPr>
                </a:br>
                <a:r>
                  <a:rPr lang="en-US" sz="1200" ker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go to </a:t>
                </a:r>
                <a:r>
                  <a:rPr lang="en-US" sz="1200" b="1" ker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‘Picture Tools’ </a:t>
                </a:r>
                <a:r>
                  <a:rPr lang="en-US" sz="1200" ker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and click on </a:t>
                </a:r>
                <a:r>
                  <a:rPr lang="en-US" sz="1200" b="1" ker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‘Crop’</a:t>
                </a:r>
                <a:endParaRPr lang="nl-NL" sz="1200" b="1" kern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7" name="Ovaal 56"/>
              <p:cNvSpPr/>
              <p:nvPr/>
            </p:nvSpPr>
            <p:spPr>
              <a:xfrm>
                <a:off x="12488779" y="4532940"/>
                <a:ext cx="359927" cy="359927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3</a:t>
                </a:r>
                <a:endPara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58" name="Rechte verbindingslijn 57"/>
              <p:cNvCxnSpPr/>
              <p:nvPr/>
            </p:nvCxnSpPr>
            <p:spPr>
              <a:xfrm>
                <a:off x="12470972" y="6863444"/>
                <a:ext cx="2608001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3560AB"/>
                </a:solidFill>
                <a:prstDash val="solid"/>
              </a:ln>
              <a:effectLst/>
            </p:spPr>
          </p:cxnSp>
          <p:grpSp>
            <p:nvGrpSpPr>
              <p:cNvPr id="59" name="Groep 58"/>
              <p:cNvGrpSpPr/>
              <p:nvPr/>
            </p:nvGrpSpPr>
            <p:grpSpPr>
              <a:xfrm>
                <a:off x="12483705" y="3745117"/>
                <a:ext cx="1114138" cy="297656"/>
                <a:chOff x="13560784" y="3471416"/>
                <a:chExt cx="1114138" cy="297656"/>
              </a:xfrm>
            </p:grpSpPr>
            <p:sp>
              <p:nvSpPr>
                <p:cNvPr id="60" name="Afgeronde rechthoek 59"/>
                <p:cNvSpPr/>
                <p:nvPr/>
              </p:nvSpPr>
              <p:spPr>
                <a:xfrm>
                  <a:off x="13560784" y="3471416"/>
                  <a:ext cx="1114138" cy="297656"/>
                </a:xfrm>
                <a:prstGeom prst="roundRect">
                  <a:avLst/>
                </a:prstGeom>
                <a:gradFill flip="none" rotWithShape="1">
                  <a:gsLst>
                    <a:gs pos="4000">
                      <a:srgbClr val="00B0F0"/>
                    </a:gs>
                    <a:gs pos="0">
                      <a:srgbClr val="0070C0"/>
                    </a:gs>
                    <a:gs pos="100000">
                      <a:srgbClr val="0070C0"/>
                    </a:gs>
                    <a:gs pos="12000">
                      <a:srgbClr val="D1EAFF"/>
                    </a:gs>
                    <a:gs pos="96000">
                      <a:srgbClr val="00B0F0"/>
                    </a:gs>
                    <a:gs pos="89000">
                      <a:srgbClr val="DDF4FF"/>
                    </a:gs>
                    <a:gs pos="43000">
                      <a:srgbClr val="D1EAFF"/>
                    </a:gs>
                    <a:gs pos="51000">
                      <a:srgbClr val="DDF4FF"/>
                    </a:gs>
                  </a:gsLst>
                  <a:lin ang="16200000" scaled="1"/>
                  <a:tileRect/>
                </a:gradFill>
                <a:ln w="63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" name="Tekstvak 81"/>
                <p:cNvSpPr txBox="1"/>
                <p:nvPr/>
              </p:nvSpPr>
              <p:spPr>
                <a:xfrm>
                  <a:off x="13573594" y="3501896"/>
                  <a:ext cx="888311" cy="246221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>
                  <a:defPPr>
                    <a:defRPr lang="nl-NL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900" i="0" u="none" strike="noStrike" kern="0" cap="none" spc="0" normalizeH="0" baseline="0">
                      <a:ln>
                        <a:noFill/>
                      </a:ln>
                      <a:effectLst>
                        <a:outerShdw blurRad="25400" algn="ctr" rotWithShape="0">
                          <a:prstClr val="white"/>
                        </a:outerShdw>
                      </a:effectLst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5pPr>
                  <a:lvl6pPr>
                    <a:defRPr>
                      <a:latin typeface="Arial" charset="0"/>
                      <a:cs typeface="Arial" charset="0"/>
                    </a:defRPr>
                  </a:lvl6pPr>
                  <a:lvl7pPr>
                    <a:defRPr>
                      <a:latin typeface="Arial" charset="0"/>
                      <a:cs typeface="Arial" charset="0"/>
                    </a:defRPr>
                  </a:lvl7pPr>
                  <a:lvl8pPr>
                    <a:defRPr>
                      <a:latin typeface="Arial" charset="0"/>
                      <a:cs typeface="Arial" charset="0"/>
                    </a:defRPr>
                  </a:lvl8pPr>
                  <a:lvl9pPr>
                    <a:defRPr>
                      <a:latin typeface="Arial" charset="0"/>
                      <a:cs typeface="Arial" charset="0"/>
                    </a:defRPr>
                  </a:lvl9pPr>
                </a:lstStyle>
                <a:p>
                  <a:r>
                    <a:rPr lang="en-GB" sz="1000"/>
                    <a:t>Insert</a:t>
                  </a:r>
                </a:p>
              </p:txBody>
            </p:sp>
            <p:cxnSp>
              <p:nvCxnSpPr>
                <p:cNvPr id="62" name="Rechte verbindingslijn 61"/>
                <p:cNvCxnSpPr/>
                <p:nvPr/>
              </p:nvCxnSpPr>
              <p:spPr>
                <a:xfrm>
                  <a:off x="14461905" y="3507058"/>
                  <a:ext cx="0" cy="224432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3" name="Gelijkbenige driehoek 62"/>
                <p:cNvSpPr/>
                <p:nvPr/>
              </p:nvSpPr>
              <p:spPr>
                <a:xfrm rot="10800000">
                  <a:off x="14518584" y="3600521"/>
                  <a:ext cx="105309" cy="57157"/>
                </a:xfrm>
                <a:prstGeom prst="triangl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85656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enter title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en-GB" baseline="0" noProof="0"/>
              <a:t>Table (100%)</a:t>
            </a:r>
            <a:endParaRPr lang="en-GB" noProof="0"/>
          </a:p>
        </p:txBody>
      </p:sp>
      <p:sp>
        <p:nvSpPr>
          <p:cNvPr id="86" name="Tijdelijke aanduiding voor tabel 13"/>
          <p:cNvSpPr>
            <a:spLocks noGrp="1"/>
          </p:cNvSpPr>
          <p:nvPr>
            <p:ph type="tbl" sz="quarter" idx="15" hasCustomPrompt="1"/>
          </p:nvPr>
        </p:nvSpPr>
        <p:spPr>
          <a:xfrm>
            <a:off x="458926" y="1092201"/>
            <a:ext cx="1127520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GB" noProof="0"/>
              <a:t>Table</a:t>
            </a:r>
          </a:p>
        </p:txBody>
      </p:sp>
      <p:grpSp>
        <p:nvGrpSpPr>
          <p:cNvPr id="31" name="Instruction Table"/>
          <p:cNvGrpSpPr/>
          <p:nvPr userDrawn="1"/>
        </p:nvGrpSpPr>
        <p:grpSpPr>
          <a:xfrm>
            <a:off x="12856841" y="23313"/>
            <a:ext cx="2609094" cy="4339920"/>
            <a:chOff x="12470972" y="-5444"/>
            <a:chExt cx="2609094" cy="4339920"/>
          </a:xfrm>
        </p:grpSpPr>
        <p:grpSp>
          <p:nvGrpSpPr>
            <p:cNvPr id="32" name="Groep 31"/>
            <p:cNvGrpSpPr/>
            <p:nvPr/>
          </p:nvGrpSpPr>
          <p:grpSpPr>
            <a:xfrm>
              <a:off x="12478620" y="1489205"/>
              <a:ext cx="615489" cy="522454"/>
              <a:chOff x="3793456" y="3603"/>
              <a:chExt cx="4527394" cy="473968"/>
            </a:xfrm>
          </p:grpSpPr>
          <p:grpSp>
            <p:nvGrpSpPr>
              <p:cNvPr id="46" name="Group 4"/>
              <p:cNvGrpSpPr>
                <a:grpSpLocks noChangeAspect="1"/>
              </p:cNvGrpSpPr>
              <p:nvPr userDrawn="1"/>
            </p:nvGrpSpPr>
            <p:grpSpPr bwMode="auto">
              <a:xfrm>
                <a:off x="3793456" y="3603"/>
                <a:ext cx="4526989" cy="473968"/>
                <a:chOff x="1782" y="145"/>
                <a:chExt cx="2674" cy="2270"/>
              </a:xfrm>
            </p:grpSpPr>
            <p:sp>
              <p:nvSpPr>
                <p:cNvPr id="53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807" y="145"/>
                  <a:ext cx="2649" cy="2270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rgbClr val="96969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+mj-lt"/>
                  </a:endParaRPr>
                </a:p>
              </p:txBody>
            </p:sp>
            <p:sp>
              <p:nvSpPr>
                <p:cNvPr id="54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799" y="145"/>
                  <a:ext cx="2657" cy="439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009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+mj-lt"/>
                  </a:endParaRPr>
                </a:p>
              </p:txBody>
            </p:sp>
            <p:sp>
              <p:nvSpPr>
                <p:cNvPr id="55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782" y="1469"/>
                  <a:ext cx="2655" cy="29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+mj-lt"/>
                  </a:endParaRPr>
                </a:p>
              </p:txBody>
            </p:sp>
          </p:grpSp>
          <p:cxnSp>
            <p:nvCxnSpPr>
              <p:cNvPr id="47" name="Rechte verbindingslijn 46"/>
              <p:cNvCxnSpPr/>
              <p:nvPr userDrawn="1"/>
            </p:nvCxnSpPr>
            <p:spPr>
              <a:xfrm flipH="1">
                <a:off x="6086136" y="96647"/>
                <a:ext cx="6024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Rechte verbindingslijn 47"/>
              <p:cNvCxnSpPr/>
              <p:nvPr userDrawn="1"/>
            </p:nvCxnSpPr>
            <p:spPr>
              <a:xfrm>
                <a:off x="7281567" y="96647"/>
                <a:ext cx="0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Rechte verbindingslijn 48"/>
              <p:cNvCxnSpPr/>
              <p:nvPr userDrawn="1"/>
            </p:nvCxnSpPr>
            <p:spPr>
              <a:xfrm>
                <a:off x="4905299" y="96186"/>
                <a:ext cx="0" cy="377505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Rechte verbindingslijn 49"/>
              <p:cNvCxnSpPr/>
              <p:nvPr userDrawn="1"/>
            </p:nvCxnSpPr>
            <p:spPr>
              <a:xfrm flipH="1">
                <a:off x="3836186" y="181242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Rechte verbindingslijn 50"/>
              <p:cNvCxnSpPr/>
              <p:nvPr userDrawn="1"/>
            </p:nvCxnSpPr>
            <p:spPr>
              <a:xfrm flipH="1">
                <a:off x="3836186" y="280466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Rechte verbindingslijn 51"/>
              <p:cNvCxnSpPr/>
              <p:nvPr userDrawn="1"/>
            </p:nvCxnSpPr>
            <p:spPr>
              <a:xfrm flipH="1">
                <a:off x="3836186" y="392407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" name="Rechthoek 32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TABLE</a:t>
              </a:r>
            </a:p>
          </p:txBody>
        </p:sp>
        <p:sp>
          <p:nvSpPr>
            <p:cNvPr id="34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 table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5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 the number of rows and columns you prefer and click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OK’</a:t>
              </a:r>
            </a:p>
          </p:txBody>
        </p:sp>
        <p:sp>
          <p:nvSpPr>
            <p:cNvPr id="36" name="Ovaal 35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37" name="Ovaal 36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38" name="Rechte verbindingslijn 3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rgbClr val="3560AB"/>
              </a:solidFill>
              <a:prstDash val="solid"/>
            </a:ln>
            <a:effectLst/>
          </p:spPr>
        </p:cxnSp>
        <p:cxnSp>
          <p:nvCxnSpPr>
            <p:cNvPr id="39" name="Rechte verbindingslijn 38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rgbClr val="3560AB"/>
              </a:solidFill>
              <a:prstDash val="solid"/>
            </a:ln>
            <a:effectLst/>
          </p:spPr>
        </p:cxnSp>
        <p:cxnSp>
          <p:nvCxnSpPr>
            <p:cNvPr id="40" name="Rechte verbindingslijn 39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rgbClr val="3560AB"/>
              </a:solidFill>
              <a:prstDash val="solid"/>
            </a:ln>
            <a:effectLst/>
          </p:spPr>
        </p:cxnSp>
        <p:grpSp>
          <p:nvGrpSpPr>
            <p:cNvPr id="41" name="Groep 40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42" name="Afgeronde rechthoek 41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/>
                  <a:t>OK</a:t>
                </a:r>
              </a:p>
            </p:txBody>
          </p:sp>
          <p:cxnSp>
            <p:nvCxnSpPr>
              <p:cNvPr id="44" name="Rechte verbindingslijn 43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Gelijkbenige driehoek 44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1144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enter title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/>
              <a:t>Graph (100%)</a:t>
            </a:r>
            <a:endParaRPr lang="nl-NL"/>
          </a:p>
        </p:txBody>
      </p:sp>
      <p:sp>
        <p:nvSpPr>
          <p:cNvPr id="85" name="Tijdelijke aanduiding voor grafiek 13"/>
          <p:cNvSpPr>
            <a:spLocks noGrp="1"/>
          </p:cNvSpPr>
          <p:nvPr>
            <p:ph type="chart" sz="quarter" idx="16" hasCustomPrompt="1"/>
          </p:nvPr>
        </p:nvSpPr>
        <p:spPr>
          <a:xfrm>
            <a:off x="458926" y="1092201"/>
            <a:ext cx="1127520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GB" noProof="0"/>
              <a:t>Graph</a:t>
            </a:r>
          </a:p>
        </p:txBody>
      </p:sp>
      <p:grpSp>
        <p:nvGrpSpPr>
          <p:cNvPr id="74" name="Instruction Chart &amp; Edit"/>
          <p:cNvGrpSpPr/>
          <p:nvPr userDrawn="1"/>
        </p:nvGrpSpPr>
        <p:grpSpPr>
          <a:xfrm>
            <a:off x="12760160" y="23584"/>
            <a:ext cx="2697278" cy="6868888"/>
            <a:chOff x="12382788" y="-5444"/>
            <a:chExt cx="2697278" cy="6868888"/>
          </a:xfrm>
        </p:grpSpPr>
        <p:grpSp>
          <p:nvGrpSpPr>
            <p:cNvPr id="75" name="Groep 74"/>
            <p:cNvGrpSpPr/>
            <p:nvPr userDrawn="1"/>
          </p:nvGrpSpPr>
          <p:grpSpPr>
            <a:xfrm>
              <a:off x="12382788" y="1480224"/>
              <a:ext cx="689983" cy="573048"/>
              <a:chOff x="15171969" y="1587338"/>
              <a:chExt cx="755407" cy="627385"/>
            </a:xfrm>
          </p:grpSpPr>
          <p:sp>
            <p:nvSpPr>
              <p:cNvPr id="199" name="Rechthoek 962"/>
              <p:cNvSpPr/>
              <p:nvPr userDrawn="1"/>
            </p:nvSpPr>
            <p:spPr>
              <a:xfrm>
                <a:off x="15171969" y="2008934"/>
                <a:ext cx="755407" cy="205789"/>
              </a:xfrm>
              <a:custGeom>
                <a:avLst/>
                <a:gdLst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664132 w 664132"/>
                  <a:gd name="connsiteY2" fmla="*/ 27778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664132"/>
                  <a:gd name="connsiteY0" fmla="*/ 0 h 290487"/>
                  <a:gd name="connsiteX1" fmla="*/ 664132 w 664132"/>
                  <a:gd name="connsiteY1" fmla="*/ 0 h 290487"/>
                  <a:gd name="connsiteX2" fmla="*/ 333932 w 664132"/>
                  <a:gd name="connsiteY2" fmla="*/ 290487 h 290487"/>
                  <a:gd name="connsiteX3" fmla="*/ 0 w 664132"/>
                  <a:gd name="connsiteY3" fmla="*/ 277787 h 290487"/>
                  <a:gd name="connsiteX4" fmla="*/ 0 w 664132"/>
                  <a:gd name="connsiteY4" fmla="*/ 0 h 290487"/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575232 w 664132"/>
                  <a:gd name="connsiteY2" fmla="*/ 27143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708582"/>
                  <a:gd name="connsiteY0" fmla="*/ 0 h 277787"/>
                  <a:gd name="connsiteX1" fmla="*/ 708582 w 708582"/>
                  <a:gd name="connsiteY1" fmla="*/ 31750 h 277787"/>
                  <a:gd name="connsiteX2" fmla="*/ 575232 w 708582"/>
                  <a:gd name="connsiteY2" fmla="*/ 271437 h 277787"/>
                  <a:gd name="connsiteX3" fmla="*/ 0 w 708582"/>
                  <a:gd name="connsiteY3" fmla="*/ 277787 h 277787"/>
                  <a:gd name="connsiteX4" fmla="*/ 0 w 708582"/>
                  <a:gd name="connsiteY4" fmla="*/ 0 h 277787"/>
                  <a:gd name="connsiteX0" fmla="*/ 228600 w 708582"/>
                  <a:gd name="connsiteY0" fmla="*/ 6350 h 246037"/>
                  <a:gd name="connsiteX1" fmla="*/ 708582 w 708582"/>
                  <a:gd name="connsiteY1" fmla="*/ 0 h 246037"/>
                  <a:gd name="connsiteX2" fmla="*/ 575232 w 708582"/>
                  <a:gd name="connsiteY2" fmla="*/ 239687 h 246037"/>
                  <a:gd name="connsiteX3" fmla="*/ 0 w 708582"/>
                  <a:gd name="connsiteY3" fmla="*/ 246037 h 246037"/>
                  <a:gd name="connsiteX4" fmla="*/ 228600 w 708582"/>
                  <a:gd name="connsiteY4" fmla="*/ 6350 h 246037"/>
                  <a:gd name="connsiteX0" fmla="*/ 228600 w 778432"/>
                  <a:gd name="connsiteY0" fmla="*/ 0 h 239687"/>
                  <a:gd name="connsiteX1" fmla="*/ 778432 w 778432"/>
                  <a:gd name="connsiteY1" fmla="*/ 25400 h 239687"/>
                  <a:gd name="connsiteX2" fmla="*/ 575232 w 778432"/>
                  <a:gd name="connsiteY2" fmla="*/ 233337 h 239687"/>
                  <a:gd name="connsiteX3" fmla="*/ 0 w 778432"/>
                  <a:gd name="connsiteY3" fmla="*/ 239687 h 239687"/>
                  <a:gd name="connsiteX4" fmla="*/ 228600 w 778432"/>
                  <a:gd name="connsiteY4" fmla="*/ 0 h 239687"/>
                  <a:gd name="connsiteX0" fmla="*/ 228600 w 778432"/>
                  <a:gd name="connsiteY0" fmla="*/ 0 h 214287"/>
                  <a:gd name="connsiteX1" fmla="*/ 778432 w 778432"/>
                  <a:gd name="connsiteY1" fmla="*/ 0 h 214287"/>
                  <a:gd name="connsiteX2" fmla="*/ 575232 w 778432"/>
                  <a:gd name="connsiteY2" fmla="*/ 207937 h 214287"/>
                  <a:gd name="connsiteX3" fmla="*/ 0 w 778432"/>
                  <a:gd name="connsiteY3" fmla="*/ 214287 h 214287"/>
                  <a:gd name="connsiteX4" fmla="*/ 228600 w 778432"/>
                  <a:gd name="connsiteY4" fmla="*/ 0 h 214287"/>
                  <a:gd name="connsiteX0" fmla="*/ 228600 w 730724"/>
                  <a:gd name="connsiteY0" fmla="*/ 3975 h 218262"/>
                  <a:gd name="connsiteX1" fmla="*/ 730724 w 730724"/>
                  <a:gd name="connsiteY1" fmla="*/ 0 h 218262"/>
                  <a:gd name="connsiteX2" fmla="*/ 575232 w 730724"/>
                  <a:gd name="connsiteY2" fmla="*/ 211912 h 218262"/>
                  <a:gd name="connsiteX3" fmla="*/ 0 w 730724"/>
                  <a:gd name="connsiteY3" fmla="*/ 218262 h 218262"/>
                  <a:gd name="connsiteX4" fmla="*/ 228600 w 730724"/>
                  <a:gd name="connsiteY4" fmla="*/ 3975 h 218262"/>
                  <a:gd name="connsiteX0" fmla="*/ 252454 w 754578"/>
                  <a:gd name="connsiteY0" fmla="*/ 3975 h 211912"/>
                  <a:gd name="connsiteX1" fmla="*/ 754578 w 754578"/>
                  <a:gd name="connsiteY1" fmla="*/ 0 h 211912"/>
                  <a:gd name="connsiteX2" fmla="*/ 599086 w 754578"/>
                  <a:gd name="connsiteY2" fmla="*/ 211912 h 211912"/>
                  <a:gd name="connsiteX3" fmla="*/ 0 w 754578"/>
                  <a:gd name="connsiteY3" fmla="*/ 210311 h 211912"/>
                  <a:gd name="connsiteX4" fmla="*/ 252454 w 754578"/>
                  <a:gd name="connsiteY4" fmla="*/ 3975 h 211912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599086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754578"/>
                  <a:gd name="connsiteY0" fmla="*/ 0 h 223840"/>
                  <a:gd name="connsiteX1" fmla="*/ 754578 w 754578"/>
                  <a:gd name="connsiteY1" fmla="*/ 7952 h 223840"/>
                  <a:gd name="connsiteX2" fmla="*/ 654745 w 754578"/>
                  <a:gd name="connsiteY2" fmla="*/ 223840 h 223840"/>
                  <a:gd name="connsiteX3" fmla="*/ 0 w 754578"/>
                  <a:gd name="connsiteY3" fmla="*/ 218263 h 223840"/>
                  <a:gd name="connsiteX4" fmla="*/ 172941 w 754578"/>
                  <a:gd name="connsiteY4" fmla="*/ 0 h 223840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646793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818189"/>
                  <a:gd name="connsiteY0" fmla="*/ 0 h 219864"/>
                  <a:gd name="connsiteX1" fmla="*/ 818189 w 818189"/>
                  <a:gd name="connsiteY1" fmla="*/ 31806 h 219864"/>
                  <a:gd name="connsiteX2" fmla="*/ 646793 w 818189"/>
                  <a:gd name="connsiteY2" fmla="*/ 219864 h 219864"/>
                  <a:gd name="connsiteX3" fmla="*/ 0 w 818189"/>
                  <a:gd name="connsiteY3" fmla="*/ 218263 h 219864"/>
                  <a:gd name="connsiteX4" fmla="*/ 172941 w 818189"/>
                  <a:gd name="connsiteY4" fmla="*/ 0 h 219864"/>
                  <a:gd name="connsiteX0" fmla="*/ 172941 w 806262"/>
                  <a:gd name="connsiteY0" fmla="*/ 0 h 219864"/>
                  <a:gd name="connsiteX1" fmla="*/ 806262 w 806262"/>
                  <a:gd name="connsiteY1" fmla="*/ 11928 h 219864"/>
                  <a:gd name="connsiteX2" fmla="*/ 646793 w 806262"/>
                  <a:gd name="connsiteY2" fmla="*/ 219864 h 219864"/>
                  <a:gd name="connsiteX3" fmla="*/ 0 w 806262"/>
                  <a:gd name="connsiteY3" fmla="*/ 218263 h 219864"/>
                  <a:gd name="connsiteX4" fmla="*/ 172941 w 806262"/>
                  <a:gd name="connsiteY4" fmla="*/ 0 h 219864"/>
                  <a:gd name="connsiteX0" fmla="*/ 172941 w 798310"/>
                  <a:gd name="connsiteY0" fmla="*/ 0 h 219864"/>
                  <a:gd name="connsiteX1" fmla="*/ 798310 w 798310"/>
                  <a:gd name="connsiteY1" fmla="*/ 15903 h 219864"/>
                  <a:gd name="connsiteX2" fmla="*/ 646793 w 798310"/>
                  <a:gd name="connsiteY2" fmla="*/ 219864 h 219864"/>
                  <a:gd name="connsiteX3" fmla="*/ 0 w 798310"/>
                  <a:gd name="connsiteY3" fmla="*/ 218263 h 219864"/>
                  <a:gd name="connsiteX4" fmla="*/ 172941 w 798310"/>
                  <a:gd name="connsiteY4" fmla="*/ 0 h 219864"/>
                  <a:gd name="connsiteX0" fmla="*/ 172941 w 798310"/>
                  <a:gd name="connsiteY0" fmla="*/ 0 h 259620"/>
                  <a:gd name="connsiteX1" fmla="*/ 798310 w 798310"/>
                  <a:gd name="connsiteY1" fmla="*/ 15903 h 259620"/>
                  <a:gd name="connsiteX2" fmla="*/ 614988 w 798310"/>
                  <a:gd name="connsiteY2" fmla="*/ 259620 h 259620"/>
                  <a:gd name="connsiteX3" fmla="*/ 0 w 798310"/>
                  <a:gd name="connsiteY3" fmla="*/ 218263 h 259620"/>
                  <a:gd name="connsiteX4" fmla="*/ 172941 w 798310"/>
                  <a:gd name="connsiteY4" fmla="*/ 0 h 259620"/>
                  <a:gd name="connsiteX0" fmla="*/ 188843 w 814212"/>
                  <a:gd name="connsiteY0" fmla="*/ 0 h 259620"/>
                  <a:gd name="connsiteX1" fmla="*/ 814212 w 814212"/>
                  <a:gd name="connsiteY1" fmla="*/ 15903 h 259620"/>
                  <a:gd name="connsiteX2" fmla="*/ 630890 w 814212"/>
                  <a:gd name="connsiteY2" fmla="*/ 259620 h 259620"/>
                  <a:gd name="connsiteX3" fmla="*/ 0 w 814212"/>
                  <a:gd name="connsiteY3" fmla="*/ 254043 h 259620"/>
                  <a:gd name="connsiteX4" fmla="*/ 188843 w 814212"/>
                  <a:gd name="connsiteY4" fmla="*/ 0 h 259620"/>
                  <a:gd name="connsiteX0" fmla="*/ 208721 w 834090"/>
                  <a:gd name="connsiteY0" fmla="*/ 0 h 259620"/>
                  <a:gd name="connsiteX1" fmla="*/ 834090 w 834090"/>
                  <a:gd name="connsiteY1" fmla="*/ 15903 h 259620"/>
                  <a:gd name="connsiteX2" fmla="*/ 650768 w 834090"/>
                  <a:gd name="connsiteY2" fmla="*/ 259620 h 259620"/>
                  <a:gd name="connsiteX3" fmla="*/ 0 w 834090"/>
                  <a:gd name="connsiteY3" fmla="*/ 254043 h 259620"/>
                  <a:gd name="connsiteX4" fmla="*/ 208721 w 834090"/>
                  <a:gd name="connsiteY4" fmla="*/ 0 h 259620"/>
                  <a:gd name="connsiteX0" fmla="*/ 268356 w 893725"/>
                  <a:gd name="connsiteY0" fmla="*/ 0 h 259620"/>
                  <a:gd name="connsiteX1" fmla="*/ 893725 w 893725"/>
                  <a:gd name="connsiteY1" fmla="*/ 15903 h 259620"/>
                  <a:gd name="connsiteX2" fmla="*/ 710403 w 893725"/>
                  <a:gd name="connsiteY2" fmla="*/ 259620 h 259620"/>
                  <a:gd name="connsiteX3" fmla="*/ 0 w 893725"/>
                  <a:gd name="connsiteY3" fmla="*/ 254043 h 259620"/>
                  <a:gd name="connsiteX4" fmla="*/ 268356 w 893725"/>
                  <a:gd name="connsiteY4" fmla="*/ 0 h 259620"/>
                  <a:gd name="connsiteX0" fmla="*/ 260405 w 885774"/>
                  <a:gd name="connsiteY0" fmla="*/ 0 h 259620"/>
                  <a:gd name="connsiteX1" fmla="*/ 885774 w 885774"/>
                  <a:gd name="connsiteY1" fmla="*/ 15903 h 259620"/>
                  <a:gd name="connsiteX2" fmla="*/ 702452 w 885774"/>
                  <a:gd name="connsiteY2" fmla="*/ 259620 h 259620"/>
                  <a:gd name="connsiteX3" fmla="*/ 0 w 885774"/>
                  <a:gd name="connsiteY3" fmla="*/ 254043 h 259620"/>
                  <a:gd name="connsiteX4" fmla="*/ 260405 w 885774"/>
                  <a:gd name="connsiteY4" fmla="*/ 0 h 259620"/>
                  <a:gd name="connsiteX0" fmla="*/ 220648 w 885774"/>
                  <a:gd name="connsiteY0" fmla="*/ 0 h 243717"/>
                  <a:gd name="connsiteX1" fmla="*/ 885774 w 885774"/>
                  <a:gd name="connsiteY1" fmla="*/ 0 h 243717"/>
                  <a:gd name="connsiteX2" fmla="*/ 702452 w 885774"/>
                  <a:gd name="connsiteY2" fmla="*/ 243717 h 243717"/>
                  <a:gd name="connsiteX3" fmla="*/ 0 w 885774"/>
                  <a:gd name="connsiteY3" fmla="*/ 238140 h 243717"/>
                  <a:gd name="connsiteX4" fmla="*/ 220648 w 885774"/>
                  <a:gd name="connsiteY4" fmla="*/ 0 h 243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5774" h="243717">
                    <a:moveTo>
                      <a:pt x="220648" y="0"/>
                    </a:moveTo>
                    <a:lnTo>
                      <a:pt x="885774" y="0"/>
                    </a:lnTo>
                    <a:lnTo>
                      <a:pt x="702452" y="243717"/>
                    </a:lnTo>
                    <a:lnTo>
                      <a:pt x="0" y="238140"/>
                    </a:lnTo>
                    <a:lnTo>
                      <a:pt x="220648" y="0"/>
                    </a:lnTo>
                    <a:close/>
                  </a:path>
                </a:pathLst>
              </a:custGeom>
              <a:solidFill>
                <a:srgbClr val="FFFFFF">
                  <a:lumMod val="50000"/>
                </a:srgbClr>
              </a:solidFill>
              <a:ln w="25400" cap="flat" cmpd="sng" algn="ctr">
                <a:noFill/>
                <a:prstDash val="solid"/>
              </a:ln>
              <a:effectLst>
                <a:softEdge rad="31750"/>
              </a:effectLst>
            </p:spPr>
            <p:txBody>
              <a:bodyPr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200" name="Groep 199"/>
              <p:cNvGrpSpPr/>
              <p:nvPr userDrawn="1"/>
            </p:nvGrpSpPr>
            <p:grpSpPr>
              <a:xfrm>
                <a:off x="15281106" y="1587338"/>
                <a:ext cx="511775" cy="560304"/>
                <a:chOff x="10604642" y="969717"/>
                <a:chExt cx="1290643" cy="1427163"/>
              </a:xfrm>
            </p:grpSpPr>
            <p:grpSp>
              <p:nvGrpSpPr>
                <p:cNvPr id="201" name="Group 879"/>
                <p:cNvGrpSpPr>
                  <a:grpSpLocks noChangeAspect="1"/>
                </p:cNvGrpSpPr>
                <p:nvPr userDrawn="1"/>
              </p:nvGrpSpPr>
              <p:grpSpPr bwMode="auto">
                <a:xfrm>
                  <a:off x="10604642" y="969717"/>
                  <a:ext cx="1290643" cy="1427163"/>
                  <a:chOff x="4798" y="1515"/>
                  <a:chExt cx="813" cy="899"/>
                </a:xfrm>
              </p:grpSpPr>
              <p:sp>
                <p:nvSpPr>
                  <p:cNvPr id="203" name="Freeform 886"/>
                  <p:cNvSpPr>
                    <a:spLocks/>
                  </p:cNvSpPr>
                  <p:nvPr userDrawn="1"/>
                </p:nvSpPr>
                <p:spPr bwMode="auto">
                  <a:xfrm>
                    <a:off x="5269" y="1515"/>
                    <a:ext cx="71" cy="898"/>
                  </a:xfrm>
                  <a:custGeom>
                    <a:avLst/>
                    <a:gdLst>
                      <a:gd name="T0" fmla="*/ 282 w 282"/>
                      <a:gd name="T1" fmla="*/ 0 h 3595"/>
                      <a:gd name="T2" fmla="*/ 282 w 282"/>
                      <a:gd name="T3" fmla="*/ 3138 h 3595"/>
                      <a:gd name="T4" fmla="*/ 0 w 282"/>
                      <a:gd name="T5" fmla="*/ 3595 h 3595"/>
                      <a:gd name="T6" fmla="*/ 0 w 282"/>
                      <a:gd name="T7" fmla="*/ 285 h 3595"/>
                      <a:gd name="T8" fmla="*/ 282 w 282"/>
                      <a:gd name="T9" fmla="*/ 0 h 35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82" h="3595">
                        <a:moveTo>
                          <a:pt x="282" y="0"/>
                        </a:moveTo>
                        <a:lnTo>
                          <a:pt x="282" y="3138"/>
                        </a:lnTo>
                        <a:lnTo>
                          <a:pt x="0" y="3595"/>
                        </a:lnTo>
                        <a:lnTo>
                          <a:pt x="0" y="285"/>
                        </a:lnTo>
                        <a:lnTo>
                          <a:pt x="282" y="0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204" name="Rectangle 880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515"/>
                    <a:ext cx="813" cy="899"/>
                  </a:xfrm>
                  <a:prstGeom prst="rect">
                    <a:avLst/>
                  </a:prstGeom>
                  <a:noFill/>
                  <a:ln w="0">
                    <a:noFill/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205" name="Rectangle 881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857"/>
                    <a:ext cx="228" cy="55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002060"/>
                      </a:gs>
                      <a:gs pos="100000">
                        <a:srgbClr val="1929FF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206" name="Freeform 882"/>
                  <p:cNvSpPr>
                    <a:spLocks/>
                  </p:cNvSpPr>
                  <p:nvPr userDrawn="1"/>
                </p:nvSpPr>
                <p:spPr bwMode="auto">
                  <a:xfrm>
                    <a:off x="4798" y="1771"/>
                    <a:ext cx="314" cy="86"/>
                  </a:xfrm>
                  <a:custGeom>
                    <a:avLst/>
                    <a:gdLst>
                      <a:gd name="T0" fmla="*/ 411 w 1255"/>
                      <a:gd name="T1" fmla="*/ 0 h 342"/>
                      <a:gd name="T2" fmla="*/ 1255 w 1255"/>
                      <a:gd name="T3" fmla="*/ 0 h 342"/>
                      <a:gd name="T4" fmla="*/ 913 w 1255"/>
                      <a:gd name="T5" fmla="*/ 342 h 342"/>
                      <a:gd name="T6" fmla="*/ 0 w 1255"/>
                      <a:gd name="T7" fmla="*/ 342 h 342"/>
                      <a:gd name="T8" fmla="*/ 411 w 1255"/>
                      <a:gd name="T9" fmla="*/ 0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255" h="342">
                        <a:moveTo>
                          <a:pt x="411" y="0"/>
                        </a:moveTo>
                        <a:lnTo>
                          <a:pt x="1255" y="0"/>
                        </a:lnTo>
                        <a:lnTo>
                          <a:pt x="913" y="342"/>
                        </a:lnTo>
                        <a:lnTo>
                          <a:pt x="0" y="342"/>
                        </a:lnTo>
                        <a:lnTo>
                          <a:pt x="411" y="0"/>
                        </a:lnTo>
                        <a:close/>
                      </a:path>
                    </a:pathLst>
                  </a:custGeom>
                  <a:solidFill>
                    <a:srgbClr val="0039AC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207" name="Freeform 883"/>
                  <p:cNvSpPr>
                    <a:spLocks/>
                  </p:cNvSpPr>
                  <p:nvPr userDrawn="1"/>
                </p:nvSpPr>
                <p:spPr bwMode="auto">
                  <a:xfrm>
                    <a:off x="5026" y="1771"/>
                    <a:ext cx="85" cy="642"/>
                  </a:xfrm>
                  <a:custGeom>
                    <a:avLst/>
                    <a:gdLst>
                      <a:gd name="T0" fmla="*/ 342 w 342"/>
                      <a:gd name="T1" fmla="*/ 0 h 2568"/>
                      <a:gd name="T2" fmla="*/ 342 w 342"/>
                      <a:gd name="T3" fmla="*/ 2111 h 2568"/>
                      <a:gd name="T4" fmla="*/ 0 w 342"/>
                      <a:gd name="T5" fmla="*/ 2568 h 2568"/>
                      <a:gd name="T6" fmla="*/ 0 w 342"/>
                      <a:gd name="T7" fmla="*/ 342 h 2568"/>
                      <a:gd name="T8" fmla="*/ 342 w 342"/>
                      <a:gd name="T9" fmla="*/ 0 h 25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568">
                        <a:moveTo>
                          <a:pt x="342" y="0"/>
                        </a:moveTo>
                        <a:lnTo>
                          <a:pt x="342" y="2111"/>
                        </a:lnTo>
                        <a:lnTo>
                          <a:pt x="0" y="2568"/>
                        </a:lnTo>
                        <a:lnTo>
                          <a:pt x="0" y="342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000075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208" name="Freeform 884"/>
                  <p:cNvSpPr>
                    <a:spLocks/>
                  </p:cNvSpPr>
                  <p:nvPr userDrawn="1"/>
                </p:nvSpPr>
                <p:spPr bwMode="auto">
                  <a:xfrm>
                    <a:off x="5054" y="1515"/>
                    <a:ext cx="286" cy="72"/>
                  </a:xfrm>
                  <a:custGeom>
                    <a:avLst/>
                    <a:gdLst>
                      <a:gd name="T0" fmla="*/ 318 w 1140"/>
                      <a:gd name="T1" fmla="*/ 0 h 289"/>
                      <a:gd name="T2" fmla="*/ 1140 w 1140"/>
                      <a:gd name="T3" fmla="*/ 0 h 289"/>
                      <a:gd name="T4" fmla="*/ 855 w 1140"/>
                      <a:gd name="T5" fmla="*/ 289 h 289"/>
                      <a:gd name="T6" fmla="*/ 0 w 1140"/>
                      <a:gd name="T7" fmla="*/ 289 h 289"/>
                      <a:gd name="T8" fmla="*/ 318 w 1140"/>
                      <a:gd name="T9" fmla="*/ 0 h 2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0" h="289">
                        <a:moveTo>
                          <a:pt x="318" y="0"/>
                        </a:moveTo>
                        <a:lnTo>
                          <a:pt x="1140" y="0"/>
                        </a:lnTo>
                        <a:lnTo>
                          <a:pt x="855" y="289"/>
                        </a:lnTo>
                        <a:lnTo>
                          <a:pt x="0" y="289"/>
                        </a:lnTo>
                        <a:lnTo>
                          <a:pt x="318" y="0"/>
                        </a:lnTo>
                        <a:close/>
                      </a:path>
                    </a:pathLst>
                  </a:custGeom>
                  <a:solidFill>
                    <a:srgbClr val="EEFF26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209" name="Rectangle 885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054" y="1587"/>
                    <a:ext cx="215" cy="82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FFC000"/>
                      </a:gs>
                      <a:gs pos="100000">
                        <a:srgbClr val="FFFF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210" name="Rectangle 887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298" y="1771"/>
                    <a:ext cx="228" cy="643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B80004"/>
                      </a:gs>
                      <a:gs pos="100000">
                        <a:srgbClr val="FF00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211" name="Freeform 888"/>
                  <p:cNvSpPr>
                    <a:spLocks/>
                  </p:cNvSpPr>
                  <p:nvPr userDrawn="1"/>
                </p:nvSpPr>
                <p:spPr bwMode="auto">
                  <a:xfrm>
                    <a:off x="5526" y="1686"/>
                    <a:ext cx="85" cy="727"/>
                  </a:xfrm>
                  <a:custGeom>
                    <a:avLst/>
                    <a:gdLst>
                      <a:gd name="T0" fmla="*/ 342 w 342"/>
                      <a:gd name="T1" fmla="*/ 0 h 2911"/>
                      <a:gd name="T2" fmla="*/ 342 w 342"/>
                      <a:gd name="T3" fmla="*/ 2477 h 2911"/>
                      <a:gd name="T4" fmla="*/ 0 w 342"/>
                      <a:gd name="T5" fmla="*/ 2911 h 2911"/>
                      <a:gd name="T6" fmla="*/ 0 w 342"/>
                      <a:gd name="T7" fmla="*/ 334 h 2911"/>
                      <a:gd name="T8" fmla="*/ 342 w 342"/>
                      <a:gd name="T9" fmla="*/ 0 h 29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911">
                        <a:moveTo>
                          <a:pt x="342" y="0"/>
                        </a:moveTo>
                        <a:lnTo>
                          <a:pt x="342" y="2477"/>
                        </a:lnTo>
                        <a:lnTo>
                          <a:pt x="0" y="2911"/>
                        </a:lnTo>
                        <a:lnTo>
                          <a:pt x="0" y="334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C2001B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  <p:sp>
              <p:nvSpPr>
                <p:cNvPr id="202" name="Vrije vorm 201"/>
                <p:cNvSpPr/>
                <p:nvPr userDrawn="1"/>
              </p:nvSpPr>
              <p:spPr>
                <a:xfrm>
                  <a:off x="11389225" y="1241176"/>
                  <a:ext cx="506025" cy="137883"/>
                </a:xfrm>
                <a:custGeom>
                  <a:avLst/>
                  <a:gdLst>
                    <a:gd name="connsiteX0" fmla="*/ 0 w 508407"/>
                    <a:gd name="connsiteY0" fmla="*/ 142646 h 146304"/>
                    <a:gd name="connsiteX1" fmla="*/ 369418 w 508407"/>
                    <a:gd name="connsiteY1" fmla="*/ 146304 h 146304"/>
                    <a:gd name="connsiteX2" fmla="*/ 508407 w 508407"/>
                    <a:gd name="connsiteY2" fmla="*/ 0 h 146304"/>
                    <a:gd name="connsiteX3" fmla="*/ 168250 w 508407"/>
                    <a:gd name="connsiteY3" fmla="*/ 0 h 146304"/>
                    <a:gd name="connsiteX4" fmla="*/ 0 w 508407"/>
                    <a:gd name="connsiteY4" fmla="*/ 142646 h 146304"/>
                    <a:gd name="connsiteX0" fmla="*/ 0 w 508407"/>
                    <a:gd name="connsiteY0" fmla="*/ 142646 h 142646"/>
                    <a:gd name="connsiteX1" fmla="*/ 376562 w 508407"/>
                    <a:gd name="connsiteY1" fmla="*/ 136779 h 142646"/>
                    <a:gd name="connsiteX2" fmla="*/ 508407 w 508407"/>
                    <a:gd name="connsiteY2" fmla="*/ 0 h 142646"/>
                    <a:gd name="connsiteX3" fmla="*/ 168250 w 508407"/>
                    <a:gd name="connsiteY3" fmla="*/ 0 h 142646"/>
                    <a:gd name="connsiteX4" fmla="*/ 0 w 508407"/>
                    <a:gd name="connsiteY4" fmla="*/ 142646 h 142646"/>
                    <a:gd name="connsiteX0" fmla="*/ 0 w 506025"/>
                    <a:gd name="connsiteY0" fmla="*/ 137883 h 137883"/>
                    <a:gd name="connsiteX1" fmla="*/ 374180 w 506025"/>
                    <a:gd name="connsiteY1" fmla="*/ 136779 h 137883"/>
                    <a:gd name="connsiteX2" fmla="*/ 506025 w 506025"/>
                    <a:gd name="connsiteY2" fmla="*/ 0 h 137883"/>
                    <a:gd name="connsiteX3" fmla="*/ 165868 w 506025"/>
                    <a:gd name="connsiteY3" fmla="*/ 0 h 137883"/>
                    <a:gd name="connsiteX4" fmla="*/ 0 w 506025"/>
                    <a:gd name="connsiteY4" fmla="*/ 137883 h 137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6025" h="137883">
                      <a:moveTo>
                        <a:pt x="0" y="137883"/>
                      </a:moveTo>
                      <a:lnTo>
                        <a:pt x="374180" y="136779"/>
                      </a:lnTo>
                      <a:lnTo>
                        <a:pt x="506025" y="0"/>
                      </a:lnTo>
                      <a:lnTo>
                        <a:pt x="165868" y="0"/>
                      </a:lnTo>
                      <a:lnTo>
                        <a:pt x="0" y="137883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76" name="Groep 75"/>
            <p:cNvGrpSpPr/>
            <p:nvPr/>
          </p:nvGrpSpPr>
          <p:grpSpPr>
            <a:xfrm>
              <a:off x="12487778" y="6003628"/>
              <a:ext cx="1980859" cy="542924"/>
              <a:chOff x="12390702" y="6054428"/>
              <a:chExt cx="1980859" cy="542924"/>
            </a:xfrm>
          </p:grpSpPr>
          <p:sp>
            <p:nvSpPr>
              <p:cNvPr id="165" name="Rechthoek 164"/>
              <p:cNvSpPr/>
              <p:nvPr/>
            </p:nvSpPr>
            <p:spPr>
              <a:xfrm>
                <a:off x="12402284" y="6054428"/>
                <a:ext cx="1969277" cy="54292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66" name="Rechthoek 165"/>
              <p:cNvSpPr/>
              <p:nvPr/>
            </p:nvSpPr>
            <p:spPr>
              <a:xfrm>
                <a:off x="12662053" y="6062530"/>
                <a:ext cx="1268296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100">
                    <a:latin typeface="Calibri" panose="020F0502020204030204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Change chart type</a:t>
                </a:r>
              </a:p>
            </p:txBody>
          </p:sp>
          <p:sp>
            <p:nvSpPr>
              <p:cNvPr id="167" name="Gelijkbenige driehoek 166"/>
              <p:cNvSpPr/>
              <p:nvPr/>
            </p:nvSpPr>
            <p:spPr>
              <a:xfrm rot="5400000">
                <a:off x="14210471" y="6150144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68" name="Afgeronde rechthoek 167"/>
              <p:cNvSpPr/>
              <p:nvPr/>
            </p:nvSpPr>
            <p:spPr>
              <a:xfrm>
                <a:off x="12390702" y="6322741"/>
                <a:ext cx="1973675" cy="268314"/>
              </a:xfrm>
              <a:prstGeom prst="roundRect">
                <a:avLst/>
              </a:prstGeom>
              <a:gradFill>
                <a:gsLst>
                  <a:gs pos="0">
                    <a:srgbClr val="FFF2BD"/>
                  </a:gs>
                  <a:gs pos="34000">
                    <a:srgbClr val="FFE98B"/>
                  </a:gs>
                  <a:gs pos="78000">
                    <a:srgbClr val="FFF5C9"/>
                  </a:gs>
                  <a:gs pos="59000">
                    <a:srgbClr val="FFE98B"/>
                  </a:gs>
                </a:gsLst>
                <a:lin ang="5400000" scaled="0"/>
              </a:gradFill>
              <a:ln w="635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tlCol="0" anchor="ctr"/>
              <a:lstStyle/>
              <a:p>
                <a:r>
                  <a:rPr lang="en-US" sz="1200">
                    <a:solidFill>
                      <a:schemeClr val="tx1"/>
                    </a:solidFill>
                    <a:latin typeface="Calibri" panose="020F0502020204030204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Edit data</a:t>
                </a:r>
              </a:p>
            </p:txBody>
          </p:sp>
          <p:grpSp>
            <p:nvGrpSpPr>
              <p:cNvPr id="169" name="Groep 168"/>
              <p:cNvGrpSpPr/>
              <p:nvPr/>
            </p:nvGrpSpPr>
            <p:grpSpPr>
              <a:xfrm>
                <a:off x="12461788" y="6100223"/>
                <a:ext cx="204691" cy="170000"/>
                <a:chOff x="15171969" y="1587338"/>
                <a:chExt cx="755407" cy="627385"/>
              </a:xfrm>
            </p:grpSpPr>
            <p:sp>
              <p:nvSpPr>
                <p:cNvPr id="186" name="Rechthoek 962"/>
                <p:cNvSpPr/>
                <p:nvPr userDrawn="1"/>
              </p:nvSpPr>
              <p:spPr>
                <a:xfrm>
                  <a:off x="15171969" y="2008934"/>
                  <a:ext cx="755407" cy="205789"/>
                </a:xfrm>
                <a:custGeom>
                  <a:avLst/>
                  <a:gdLst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664132 w 664132"/>
                    <a:gd name="connsiteY2" fmla="*/ 27778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664132"/>
                    <a:gd name="connsiteY0" fmla="*/ 0 h 290487"/>
                    <a:gd name="connsiteX1" fmla="*/ 664132 w 664132"/>
                    <a:gd name="connsiteY1" fmla="*/ 0 h 290487"/>
                    <a:gd name="connsiteX2" fmla="*/ 333932 w 664132"/>
                    <a:gd name="connsiteY2" fmla="*/ 290487 h 290487"/>
                    <a:gd name="connsiteX3" fmla="*/ 0 w 664132"/>
                    <a:gd name="connsiteY3" fmla="*/ 277787 h 290487"/>
                    <a:gd name="connsiteX4" fmla="*/ 0 w 664132"/>
                    <a:gd name="connsiteY4" fmla="*/ 0 h 290487"/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575232 w 664132"/>
                    <a:gd name="connsiteY2" fmla="*/ 27143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708582"/>
                    <a:gd name="connsiteY0" fmla="*/ 0 h 277787"/>
                    <a:gd name="connsiteX1" fmla="*/ 708582 w 708582"/>
                    <a:gd name="connsiteY1" fmla="*/ 31750 h 277787"/>
                    <a:gd name="connsiteX2" fmla="*/ 575232 w 708582"/>
                    <a:gd name="connsiteY2" fmla="*/ 271437 h 277787"/>
                    <a:gd name="connsiteX3" fmla="*/ 0 w 708582"/>
                    <a:gd name="connsiteY3" fmla="*/ 277787 h 277787"/>
                    <a:gd name="connsiteX4" fmla="*/ 0 w 708582"/>
                    <a:gd name="connsiteY4" fmla="*/ 0 h 277787"/>
                    <a:gd name="connsiteX0" fmla="*/ 228600 w 708582"/>
                    <a:gd name="connsiteY0" fmla="*/ 6350 h 246037"/>
                    <a:gd name="connsiteX1" fmla="*/ 708582 w 708582"/>
                    <a:gd name="connsiteY1" fmla="*/ 0 h 246037"/>
                    <a:gd name="connsiteX2" fmla="*/ 575232 w 708582"/>
                    <a:gd name="connsiteY2" fmla="*/ 239687 h 246037"/>
                    <a:gd name="connsiteX3" fmla="*/ 0 w 708582"/>
                    <a:gd name="connsiteY3" fmla="*/ 246037 h 246037"/>
                    <a:gd name="connsiteX4" fmla="*/ 228600 w 708582"/>
                    <a:gd name="connsiteY4" fmla="*/ 6350 h 246037"/>
                    <a:gd name="connsiteX0" fmla="*/ 228600 w 778432"/>
                    <a:gd name="connsiteY0" fmla="*/ 0 h 239687"/>
                    <a:gd name="connsiteX1" fmla="*/ 778432 w 778432"/>
                    <a:gd name="connsiteY1" fmla="*/ 25400 h 239687"/>
                    <a:gd name="connsiteX2" fmla="*/ 575232 w 778432"/>
                    <a:gd name="connsiteY2" fmla="*/ 233337 h 239687"/>
                    <a:gd name="connsiteX3" fmla="*/ 0 w 778432"/>
                    <a:gd name="connsiteY3" fmla="*/ 239687 h 239687"/>
                    <a:gd name="connsiteX4" fmla="*/ 228600 w 778432"/>
                    <a:gd name="connsiteY4" fmla="*/ 0 h 239687"/>
                    <a:gd name="connsiteX0" fmla="*/ 228600 w 778432"/>
                    <a:gd name="connsiteY0" fmla="*/ 0 h 214287"/>
                    <a:gd name="connsiteX1" fmla="*/ 778432 w 778432"/>
                    <a:gd name="connsiteY1" fmla="*/ 0 h 214287"/>
                    <a:gd name="connsiteX2" fmla="*/ 575232 w 778432"/>
                    <a:gd name="connsiteY2" fmla="*/ 207937 h 214287"/>
                    <a:gd name="connsiteX3" fmla="*/ 0 w 778432"/>
                    <a:gd name="connsiteY3" fmla="*/ 214287 h 214287"/>
                    <a:gd name="connsiteX4" fmla="*/ 228600 w 778432"/>
                    <a:gd name="connsiteY4" fmla="*/ 0 h 214287"/>
                    <a:gd name="connsiteX0" fmla="*/ 228600 w 730724"/>
                    <a:gd name="connsiteY0" fmla="*/ 3975 h 218262"/>
                    <a:gd name="connsiteX1" fmla="*/ 730724 w 730724"/>
                    <a:gd name="connsiteY1" fmla="*/ 0 h 218262"/>
                    <a:gd name="connsiteX2" fmla="*/ 575232 w 730724"/>
                    <a:gd name="connsiteY2" fmla="*/ 211912 h 218262"/>
                    <a:gd name="connsiteX3" fmla="*/ 0 w 730724"/>
                    <a:gd name="connsiteY3" fmla="*/ 218262 h 218262"/>
                    <a:gd name="connsiteX4" fmla="*/ 228600 w 730724"/>
                    <a:gd name="connsiteY4" fmla="*/ 3975 h 218262"/>
                    <a:gd name="connsiteX0" fmla="*/ 252454 w 754578"/>
                    <a:gd name="connsiteY0" fmla="*/ 3975 h 211912"/>
                    <a:gd name="connsiteX1" fmla="*/ 754578 w 754578"/>
                    <a:gd name="connsiteY1" fmla="*/ 0 h 211912"/>
                    <a:gd name="connsiteX2" fmla="*/ 599086 w 754578"/>
                    <a:gd name="connsiteY2" fmla="*/ 211912 h 211912"/>
                    <a:gd name="connsiteX3" fmla="*/ 0 w 754578"/>
                    <a:gd name="connsiteY3" fmla="*/ 210311 h 211912"/>
                    <a:gd name="connsiteX4" fmla="*/ 252454 w 754578"/>
                    <a:gd name="connsiteY4" fmla="*/ 3975 h 211912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599086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754578"/>
                    <a:gd name="connsiteY0" fmla="*/ 0 h 223840"/>
                    <a:gd name="connsiteX1" fmla="*/ 754578 w 754578"/>
                    <a:gd name="connsiteY1" fmla="*/ 7952 h 223840"/>
                    <a:gd name="connsiteX2" fmla="*/ 654745 w 754578"/>
                    <a:gd name="connsiteY2" fmla="*/ 223840 h 223840"/>
                    <a:gd name="connsiteX3" fmla="*/ 0 w 754578"/>
                    <a:gd name="connsiteY3" fmla="*/ 218263 h 223840"/>
                    <a:gd name="connsiteX4" fmla="*/ 172941 w 754578"/>
                    <a:gd name="connsiteY4" fmla="*/ 0 h 223840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646793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818189"/>
                    <a:gd name="connsiteY0" fmla="*/ 0 h 219864"/>
                    <a:gd name="connsiteX1" fmla="*/ 818189 w 818189"/>
                    <a:gd name="connsiteY1" fmla="*/ 31806 h 219864"/>
                    <a:gd name="connsiteX2" fmla="*/ 646793 w 818189"/>
                    <a:gd name="connsiteY2" fmla="*/ 219864 h 219864"/>
                    <a:gd name="connsiteX3" fmla="*/ 0 w 818189"/>
                    <a:gd name="connsiteY3" fmla="*/ 218263 h 219864"/>
                    <a:gd name="connsiteX4" fmla="*/ 172941 w 818189"/>
                    <a:gd name="connsiteY4" fmla="*/ 0 h 219864"/>
                    <a:gd name="connsiteX0" fmla="*/ 172941 w 806262"/>
                    <a:gd name="connsiteY0" fmla="*/ 0 h 219864"/>
                    <a:gd name="connsiteX1" fmla="*/ 806262 w 806262"/>
                    <a:gd name="connsiteY1" fmla="*/ 11928 h 219864"/>
                    <a:gd name="connsiteX2" fmla="*/ 646793 w 806262"/>
                    <a:gd name="connsiteY2" fmla="*/ 219864 h 219864"/>
                    <a:gd name="connsiteX3" fmla="*/ 0 w 806262"/>
                    <a:gd name="connsiteY3" fmla="*/ 218263 h 219864"/>
                    <a:gd name="connsiteX4" fmla="*/ 172941 w 806262"/>
                    <a:gd name="connsiteY4" fmla="*/ 0 h 219864"/>
                    <a:gd name="connsiteX0" fmla="*/ 172941 w 798310"/>
                    <a:gd name="connsiteY0" fmla="*/ 0 h 219864"/>
                    <a:gd name="connsiteX1" fmla="*/ 798310 w 798310"/>
                    <a:gd name="connsiteY1" fmla="*/ 15903 h 219864"/>
                    <a:gd name="connsiteX2" fmla="*/ 646793 w 798310"/>
                    <a:gd name="connsiteY2" fmla="*/ 219864 h 219864"/>
                    <a:gd name="connsiteX3" fmla="*/ 0 w 798310"/>
                    <a:gd name="connsiteY3" fmla="*/ 218263 h 219864"/>
                    <a:gd name="connsiteX4" fmla="*/ 172941 w 798310"/>
                    <a:gd name="connsiteY4" fmla="*/ 0 h 219864"/>
                    <a:gd name="connsiteX0" fmla="*/ 172941 w 798310"/>
                    <a:gd name="connsiteY0" fmla="*/ 0 h 259620"/>
                    <a:gd name="connsiteX1" fmla="*/ 798310 w 798310"/>
                    <a:gd name="connsiteY1" fmla="*/ 15903 h 259620"/>
                    <a:gd name="connsiteX2" fmla="*/ 614988 w 798310"/>
                    <a:gd name="connsiteY2" fmla="*/ 259620 h 259620"/>
                    <a:gd name="connsiteX3" fmla="*/ 0 w 798310"/>
                    <a:gd name="connsiteY3" fmla="*/ 218263 h 259620"/>
                    <a:gd name="connsiteX4" fmla="*/ 172941 w 798310"/>
                    <a:gd name="connsiteY4" fmla="*/ 0 h 259620"/>
                    <a:gd name="connsiteX0" fmla="*/ 188843 w 814212"/>
                    <a:gd name="connsiteY0" fmla="*/ 0 h 259620"/>
                    <a:gd name="connsiteX1" fmla="*/ 814212 w 814212"/>
                    <a:gd name="connsiteY1" fmla="*/ 15903 h 259620"/>
                    <a:gd name="connsiteX2" fmla="*/ 630890 w 814212"/>
                    <a:gd name="connsiteY2" fmla="*/ 259620 h 259620"/>
                    <a:gd name="connsiteX3" fmla="*/ 0 w 814212"/>
                    <a:gd name="connsiteY3" fmla="*/ 254043 h 259620"/>
                    <a:gd name="connsiteX4" fmla="*/ 188843 w 814212"/>
                    <a:gd name="connsiteY4" fmla="*/ 0 h 259620"/>
                    <a:gd name="connsiteX0" fmla="*/ 208721 w 834090"/>
                    <a:gd name="connsiteY0" fmla="*/ 0 h 259620"/>
                    <a:gd name="connsiteX1" fmla="*/ 834090 w 834090"/>
                    <a:gd name="connsiteY1" fmla="*/ 15903 h 259620"/>
                    <a:gd name="connsiteX2" fmla="*/ 650768 w 834090"/>
                    <a:gd name="connsiteY2" fmla="*/ 259620 h 259620"/>
                    <a:gd name="connsiteX3" fmla="*/ 0 w 834090"/>
                    <a:gd name="connsiteY3" fmla="*/ 254043 h 259620"/>
                    <a:gd name="connsiteX4" fmla="*/ 208721 w 834090"/>
                    <a:gd name="connsiteY4" fmla="*/ 0 h 259620"/>
                    <a:gd name="connsiteX0" fmla="*/ 268356 w 893725"/>
                    <a:gd name="connsiteY0" fmla="*/ 0 h 259620"/>
                    <a:gd name="connsiteX1" fmla="*/ 893725 w 893725"/>
                    <a:gd name="connsiteY1" fmla="*/ 15903 h 259620"/>
                    <a:gd name="connsiteX2" fmla="*/ 710403 w 893725"/>
                    <a:gd name="connsiteY2" fmla="*/ 259620 h 259620"/>
                    <a:gd name="connsiteX3" fmla="*/ 0 w 893725"/>
                    <a:gd name="connsiteY3" fmla="*/ 254043 h 259620"/>
                    <a:gd name="connsiteX4" fmla="*/ 268356 w 893725"/>
                    <a:gd name="connsiteY4" fmla="*/ 0 h 259620"/>
                    <a:gd name="connsiteX0" fmla="*/ 260405 w 885774"/>
                    <a:gd name="connsiteY0" fmla="*/ 0 h 259620"/>
                    <a:gd name="connsiteX1" fmla="*/ 885774 w 885774"/>
                    <a:gd name="connsiteY1" fmla="*/ 15903 h 259620"/>
                    <a:gd name="connsiteX2" fmla="*/ 702452 w 885774"/>
                    <a:gd name="connsiteY2" fmla="*/ 259620 h 259620"/>
                    <a:gd name="connsiteX3" fmla="*/ 0 w 885774"/>
                    <a:gd name="connsiteY3" fmla="*/ 254043 h 259620"/>
                    <a:gd name="connsiteX4" fmla="*/ 260405 w 885774"/>
                    <a:gd name="connsiteY4" fmla="*/ 0 h 259620"/>
                    <a:gd name="connsiteX0" fmla="*/ 220648 w 885774"/>
                    <a:gd name="connsiteY0" fmla="*/ 0 h 243717"/>
                    <a:gd name="connsiteX1" fmla="*/ 885774 w 885774"/>
                    <a:gd name="connsiteY1" fmla="*/ 0 h 243717"/>
                    <a:gd name="connsiteX2" fmla="*/ 702452 w 885774"/>
                    <a:gd name="connsiteY2" fmla="*/ 243717 h 243717"/>
                    <a:gd name="connsiteX3" fmla="*/ 0 w 885774"/>
                    <a:gd name="connsiteY3" fmla="*/ 238140 h 243717"/>
                    <a:gd name="connsiteX4" fmla="*/ 220648 w 885774"/>
                    <a:gd name="connsiteY4" fmla="*/ 0 h 243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5774" h="243717">
                      <a:moveTo>
                        <a:pt x="220648" y="0"/>
                      </a:moveTo>
                      <a:lnTo>
                        <a:pt x="885774" y="0"/>
                      </a:lnTo>
                      <a:lnTo>
                        <a:pt x="702452" y="243717"/>
                      </a:lnTo>
                      <a:lnTo>
                        <a:pt x="0" y="238140"/>
                      </a:lnTo>
                      <a:lnTo>
                        <a:pt x="220648" y="0"/>
                      </a:lnTo>
                      <a:close/>
                    </a:path>
                  </a:pathLst>
                </a:cu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>
                  <a:softEdge rad="31750"/>
                </a:effectLst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87" name="Groep 186"/>
                <p:cNvGrpSpPr/>
                <p:nvPr userDrawn="1"/>
              </p:nvGrpSpPr>
              <p:grpSpPr>
                <a:xfrm>
                  <a:off x="15281106" y="1587338"/>
                  <a:ext cx="511775" cy="560304"/>
                  <a:chOff x="10604642" y="969717"/>
                  <a:chExt cx="1290643" cy="1427163"/>
                </a:xfrm>
              </p:grpSpPr>
              <p:grpSp>
                <p:nvGrpSpPr>
                  <p:cNvPr id="188" name="Group 879"/>
                  <p:cNvGrpSpPr>
                    <a:grpSpLocks noChangeAspect="1"/>
                  </p:cNvGrpSpPr>
                  <p:nvPr userDrawn="1"/>
                </p:nvGrpSpPr>
                <p:grpSpPr bwMode="auto">
                  <a:xfrm>
                    <a:off x="10604642" y="969717"/>
                    <a:ext cx="1290643" cy="1427163"/>
                    <a:chOff x="4798" y="1515"/>
                    <a:chExt cx="813" cy="899"/>
                  </a:xfrm>
                </p:grpSpPr>
                <p:sp>
                  <p:nvSpPr>
                    <p:cNvPr id="190" name="Freeform 886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269" y="1515"/>
                      <a:ext cx="71" cy="898"/>
                    </a:xfrm>
                    <a:custGeom>
                      <a:avLst/>
                      <a:gdLst>
                        <a:gd name="T0" fmla="*/ 282 w 282"/>
                        <a:gd name="T1" fmla="*/ 0 h 3595"/>
                        <a:gd name="T2" fmla="*/ 282 w 282"/>
                        <a:gd name="T3" fmla="*/ 3138 h 3595"/>
                        <a:gd name="T4" fmla="*/ 0 w 282"/>
                        <a:gd name="T5" fmla="*/ 3595 h 3595"/>
                        <a:gd name="T6" fmla="*/ 0 w 282"/>
                        <a:gd name="T7" fmla="*/ 285 h 3595"/>
                        <a:gd name="T8" fmla="*/ 282 w 282"/>
                        <a:gd name="T9" fmla="*/ 0 h 35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2" h="3595">
                          <a:moveTo>
                            <a:pt x="282" y="0"/>
                          </a:moveTo>
                          <a:lnTo>
                            <a:pt x="282" y="3138"/>
                          </a:lnTo>
                          <a:lnTo>
                            <a:pt x="0" y="3595"/>
                          </a:lnTo>
                          <a:lnTo>
                            <a:pt x="0" y="285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C000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91" name="Rectangle 880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515"/>
                      <a:ext cx="813" cy="899"/>
                    </a:xfrm>
                    <a:prstGeom prst="rect">
                      <a:avLst/>
                    </a:prstGeom>
                    <a:no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92" name="Rectangle 881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857"/>
                      <a:ext cx="228" cy="55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002060"/>
                        </a:gs>
                        <a:gs pos="100000">
                          <a:srgbClr val="1929FF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93" name="Freeform 882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4798" y="1771"/>
                      <a:ext cx="314" cy="86"/>
                    </a:xfrm>
                    <a:custGeom>
                      <a:avLst/>
                      <a:gdLst>
                        <a:gd name="T0" fmla="*/ 411 w 1255"/>
                        <a:gd name="T1" fmla="*/ 0 h 342"/>
                        <a:gd name="T2" fmla="*/ 1255 w 1255"/>
                        <a:gd name="T3" fmla="*/ 0 h 342"/>
                        <a:gd name="T4" fmla="*/ 913 w 1255"/>
                        <a:gd name="T5" fmla="*/ 342 h 342"/>
                        <a:gd name="T6" fmla="*/ 0 w 1255"/>
                        <a:gd name="T7" fmla="*/ 342 h 342"/>
                        <a:gd name="T8" fmla="*/ 411 w 1255"/>
                        <a:gd name="T9" fmla="*/ 0 h 3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55" h="342">
                          <a:moveTo>
                            <a:pt x="411" y="0"/>
                          </a:moveTo>
                          <a:lnTo>
                            <a:pt x="1255" y="0"/>
                          </a:lnTo>
                          <a:lnTo>
                            <a:pt x="913" y="342"/>
                          </a:lnTo>
                          <a:lnTo>
                            <a:pt x="0" y="342"/>
                          </a:lnTo>
                          <a:lnTo>
                            <a:pt x="411" y="0"/>
                          </a:lnTo>
                          <a:close/>
                        </a:path>
                      </a:pathLst>
                    </a:custGeom>
                    <a:solidFill>
                      <a:srgbClr val="0039AC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94" name="Freeform 883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26" y="1771"/>
                      <a:ext cx="85" cy="642"/>
                    </a:xfrm>
                    <a:custGeom>
                      <a:avLst/>
                      <a:gdLst>
                        <a:gd name="T0" fmla="*/ 342 w 342"/>
                        <a:gd name="T1" fmla="*/ 0 h 2568"/>
                        <a:gd name="T2" fmla="*/ 342 w 342"/>
                        <a:gd name="T3" fmla="*/ 2111 h 2568"/>
                        <a:gd name="T4" fmla="*/ 0 w 342"/>
                        <a:gd name="T5" fmla="*/ 2568 h 2568"/>
                        <a:gd name="T6" fmla="*/ 0 w 342"/>
                        <a:gd name="T7" fmla="*/ 342 h 2568"/>
                        <a:gd name="T8" fmla="*/ 342 w 342"/>
                        <a:gd name="T9" fmla="*/ 0 h 25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568">
                          <a:moveTo>
                            <a:pt x="342" y="0"/>
                          </a:moveTo>
                          <a:lnTo>
                            <a:pt x="342" y="2111"/>
                          </a:lnTo>
                          <a:lnTo>
                            <a:pt x="0" y="2568"/>
                          </a:lnTo>
                          <a:lnTo>
                            <a:pt x="0" y="342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000075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95" name="Freeform 884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54" y="1515"/>
                      <a:ext cx="286" cy="72"/>
                    </a:xfrm>
                    <a:custGeom>
                      <a:avLst/>
                      <a:gdLst>
                        <a:gd name="T0" fmla="*/ 318 w 1140"/>
                        <a:gd name="T1" fmla="*/ 0 h 289"/>
                        <a:gd name="T2" fmla="*/ 1140 w 1140"/>
                        <a:gd name="T3" fmla="*/ 0 h 289"/>
                        <a:gd name="T4" fmla="*/ 855 w 1140"/>
                        <a:gd name="T5" fmla="*/ 289 h 289"/>
                        <a:gd name="T6" fmla="*/ 0 w 1140"/>
                        <a:gd name="T7" fmla="*/ 289 h 289"/>
                        <a:gd name="T8" fmla="*/ 318 w 1140"/>
                        <a:gd name="T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40" h="289">
                          <a:moveTo>
                            <a:pt x="318" y="0"/>
                          </a:moveTo>
                          <a:lnTo>
                            <a:pt x="1140" y="0"/>
                          </a:lnTo>
                          <a:lnTo>
                            <a:pt x="855" y="289"/>
                          </a:lnTo>
                          <a:lnTo>
                            <a:pt x="0" y="289"/>
                          </a:lnTo>
                          <a:lnTo>
                            <a:pt x="318" y="0"/>
                          </a:lnTo>
                          <a:close/>
                        </a:path>
                      </a:pathLst>
                    </a:custGeom>
                    <a:solidFill>
                      <a:srgbClr val="EEFF26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96" name="Rectangle 885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054" y="1587"/>
                      <a:ext cx="215" cy="82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FFC000"/>
                        </a:gs>
                        <a:gs pos="100000">
                          <a:srgbClr val="FFFF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97" name="Rectangle 887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298" y="1771"/>
                      <a:ext cx="228" cy="643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B80004"/>
                        </a:gs>
                        <a:gs pos="100000">
                          <a:srgbClr val="FF00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98" name="Freeform 888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526" y="1686"/>
                      <a:ext cx="85" cy="727"/>
                    </a:xfrm>
                    <a:custGeom>
                      <a:avLst/>
                      <a:gdLst>
                        <a:gd name="T0" fmla="*/ 342 w 342"/>
                        <a:gd name="T1" fmla="*/ 0 h 2911"/>
                        <a:gd name="T2" fmla="*/ 342 w 342"/>
                        <a:gd name="T3" fmla="*/ 2477 h 2911"/>
                        <a:gd name="T4" fmla="*/ 0 w 342"/>
                        <a:gd name="T5" fmla="*/ 2911 h 2911"/>
                        <a:gd name="T6" fmla="*/ 0 w 342"/>
                        <a:gd name="T7" fmla="*/ 334 h 2911"/>
                        <a:gd name="T8" fmla="*/ 342 w 342"/>
                        <a:gd name="T9" fmla="*/ 0 h 29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911">
                          <a:moveTo>
                            <a:pt x="342" y="0"/>
                          </a:moveTo>
                          <a:lnTo>
                            <a:pt x="342" y="2477"/>
                          </a:lnTo>
                          <a:lnTo>
                            <a:pt x="0" y="2911"/>
                          </a:lnTo>
                          <a:lnTo>
                            <a:pt x="0" y="334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C2001B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</p:grpSp>
              <p:sp>
                <p:nvSpPr>
                  <p:cNvPr id="189" name="Vrije vorm 188"/>
                  <p:cNvSpPr/>
                  <p:nvPr userDrawn="1"/>
                </p:nvSpPr>
                <p:spPr>
                  <a:xfrm>
                    <a:off x="11389225" y="1241176"/>
                    <a:ext cx="506025" cy="137883"/>
                  </a:xfrm>
                  <a:custGeom>
                    <a:avLst/>
                    <a:gdLst>
                      <a:gd name="connsiteX0" fmla="*/ 0 w 508407"/>
                      <a:gd name="connsiteY0" fmla="*/ 142646 h 146304"/>
                      <a:gd name="connsiteX1" fmla="*/ 369418 w 508407"/>
                      <a:gd name="connsiteY1" fmla="*/ 146304 h 146304"/>
                      <a:gd name="connsiteX2" fmla="*/ 508407 w 508407"/>
                      <a:gd name="connsiteY2" fmla="*/ 0 h 146304"/>
                      <a:gd name="connsiteX3" fmla="*/ 168250 w 508407"/>
                      <a:gd name="connsiteY3" fmla="*/ 0 h 146304"/>
                      <a:gd name="connsiteX4" fmla="*/ 0 w 508407"/>
                      <a:gd name="connsiteY4" fmla="*/ 142646 h 146304"/>
                      <a:gd name="connsiteX0" fmla="*/ 0 w 508407"/>
                      <a:gd name="connsiteY0" fmla="*/ 142646 h 142646"/>
                      <a:gd name="connsiteX1" fmla="*/ 376562 w 508407"/>
                      <a:gd name="connsiteY1" fmla="*/ 136779 h 142646"/>
                      <a:gd name="connsiteX2" fmla="*/ 508407 w 508407"/>
                      <a:gd name="connsiteY2" fmla="*/ 0 h 142646"/>
                      <a:gd name="connsiteX3" fmla="*/ 168250 w 508407"/>
                      <a:gd name="connsiteY3" fmla="*/ 0 h 142646"/>
                      <a:gd name="connsiteX4" fmla="*/ 0 w 508407"/>
                      <a:gd name="connsiteY4" fmla="*/ 142646 h 142646"/>
                      <a:gd name="connsiteX0" fmla="*/ 0 w 506025"/>
                      <a:gd name="connsiteY0" fmla="*/ 137883 h 137883"/>
                      <a:gd name="connsiteX1" fmla="*/ 374180 w 506025"/>
                      <a:gd name="connsiteY1" fmla="*/ 136779 h 137883"/>
                      <a:gd name="connsiteX2" fmla="*/ 506025 w 506025"/>
                      <a:gd name="connsiteY2" fmla="*/ 0 h 137883"/>
                      <a:gd name="connsiteX3" fmla="*/ 165868 w 506025"/>
                      <a:gd name="connsiteY3" fmla="*/ 0 h 137883"/>
                      <a:gd name="connsiteX4" fmla="*/ 0 w 506025"/>
                      <a:gd name="connsiteY4" fmla="*/ 137883 h 1378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6025" h="137883">
                        <a:moveTo>
                          <a:pt x="0" y="137883"/>
                        </a:moveTo>
                        <a:lnTo>
                          <a:pt x="374180" y="136779"/>
                        </a:lnTo>
                        <a:lnTo>
                          <a:pt x="506025" y="0"/>
                        </a:lnTo>
                        <a:lnTo>
                          <a:pt x="165868" y="0"/>
                        </a:lnTo>
                        <a:lnTo>
                          <a:pt x="0" y="137883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  <p:grpSp>
            <p:nvGrpSpPr>
              <p:cNvPr id="170" name="Groep 169"/>
              <p:cNvGrpSpPr/>
              <p:nvPr/>
            </p:nvGrpSpPr>
            <p:grpSpPr>
              <a:xfrm>
                <a:off x="12468521" y="6356844"/>
                <a:ext cx="133446" cy="114786"/>
                <a:chOff x="14587469" y="6356844"/>
                <a:chExt cx="133446" cy="114786"/>
              </a:xfrm>
            </p:grpSpPr>
            <p:sp>
              <p:nvSpPr>
                <p:cNvPr id="176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4588703" y="6379233"/>
                  <a:ext cx="130780" cy="91699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chemeClr val="bg2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7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4587469" y="6423761"/>
                  <a:ext cx="131076" cy="1446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8" name="Freeform 14"/>
                <p:cNvSpPr>
                  <a:spLocks noEditPoints="1"/>
                </p:cNvSpPr>
                <p:nvPr userDrawn="1"/>
              </p:nvSpPr>
              <p:spPr bwMode="auto">
                <a:xfrm>
                  <a:off x="14588901" y="6356844"/>
                  <a:ext cx="132014" cy="114786"/>
                </a:xfrm>
                <a:custGeom>
                  <a:avLst/>
                  <a:gdLst>
                    <a:gd name="T0" fmla="*/ 48 w 5347"/>
                    <a:gd name="T1" fmla="*/ 48 h 4605"/>
                    <a:gd name="T2" fmla="*/ 48 w 5347"/>
                    <a:gd name="T3" fmla="*/ 4557 h 4605"/>
                    <a:gd name="T4" fmla="*/ 5299 w 5347"/>
                    <a:gd name="T5" fmla="*/ 4557 h 4605"/>
                    <a:gd name="T6" fmla="*/ 5299 w 5347"/>
                    <a:gd name="T7" fmla="*/ 48 h 4605"/>
                    <a:gd name="T8" fmla="*/ 48 w 5347"/>
                    <a:gd name="T9" fmla="*/ 48 h 4605"/>
                    <a:gd name="T10" fmla="*/ 0 w 5347"/>
                    <a:gd name="T11" fmla="*/ 0 h 4605"/>
                    <a:gd name="T12" fmla="*/ 5347 w 5347"/>
                    <a:gd name="T13" fmla="*/ 0 h 4605"/>
                    <a:gd name="T14" fmla="*/ 5347 w 5347"/>
                    <a:gd name="T15" fmla="*/ 4605 h 4605"/>
                    <a:gd name="T16" fmla="*/ 0 w 5347"/>
                    <a:gd name="T17" fmla="*/ 4605 h 4605"/>
                    <a:gd name="T18" fmla="*/ 0 w 5347"/>
                    <a:gd name="T19" fmla="*/ 0 h 46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47" h="4605">
                      <a:moveTo>
                        <a:pt x="48" y="48"/>
                      </a:moveTo>
                      <a:lnTo>
                        <a:pt x="48" y="4557"/>
                      </a:lnTo>
                      <a:lnTo>
                        <a:pt x="5299" y="4557"/>
                      </a:lnTo>
                      <a:lnTo>
                        <a:pt x="5299" y="48"/>
                      </a:lnTo>
                      <a:lnTo>
                        <a:pt x="48" y="48"/>
                      </a:lnTo>
                      <a:close/>
                      <a:moveTo>
                        <a:pt x="0" y="0"/>
                      </a:moveTo>
                      <a:lnTo>
                        <a:pt x="5347" y="0"/>
                      </a:lnTo>
                      <a:lnTo>
                        <a:pt x="5347" y="4605"/>
                      </a:lnTo>
                      <a:lnTo>
                        <a:pt x="0" y="460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E5D8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cxnSp>
              <p:nvCxnSpPr>
                <p:cNvPr id="179" name="Rechte verbindingslijn 178"/>
                <p:cNvCxnSpPr/>
                <p:nvPr userDrawn="1"/>
              </p:nvCxnSpPr>
              <p:spPr>
                <a:xfrm flipH="1">
                  <a:off x="14654334" y="6382168"/>
                  <a:ext cx="162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Rechte verbindingslijn 179"/>
                <p:cNvCxnSpPr/>
                <p:nvPr userDrawn="1"/>
              </p:nvCxnSpPr>
              <p:spPr>
                <a:xfrm>
                  <a:off x="14689188" y="6382168"/>
                  <a:ext cx="0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Rechte verbindingslijn 180"/>
                <p:cNvCxnSpPr/>
                <p:nvPr userDrawn="1"/>
              </p:nvCxnSpPr>
              <p:spPr>
                <a:xfrm>
                  <a:off x="14619892" y="6382040"/>
                  <a:ext cx="0" cy="8577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Rechte verbindingslijn 181"/>
                <p:cNvCxnSpPr/>
                <p:nvPr userDrawn="1"/>
              </p:nvCxnSpPr>
              <p:spPr>
                <a:xfrm flipH="1">
                  <a:off x="14593115" y="6400164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Rechte verbindingslijn 182"/>
                <p:cNvCxnSpPr/>
                <p:nvPr userDrawn="1"/>
              </p:nvCxnSpPr>
              <p:spPr>
                <a:xfrm flipH="1">
                  <a:off x="14593115" y="6423860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 flipH="1">
                  <a:off x="14593115" y="6447556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4590283" y="6359138"/>
                  <a:ext cx="128657" cy="19347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192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71" name="Groep 170"/>
              <p:cNvGrpSpPr/>
              <p:nvPr/>
            </p:nvGrpSpPr>
            <p:grpSpPr>
              <a:xfrm>
                <a:off x="12529899" y="6421402"/>
                <a:ext cx="97399" cy="97399"/>
                <a:chOff x="14546483" y="5323041"/>
                <a:chExt cx="242460" cy="242460"/>
              </a:xfrm>
            </p:grpSpPr>
            <p:sp>
              <p:nvSpPr>
                <p:cNvPr id="172" name="Rechthoek 171"/>
                <p:cNvSpPr/>
                <p:nvPr userDrawn="1"/>
              </p:nvSpPr>
              <p:spPr>
                <a:xfrm>
                  <a:off x="14546483" y="5323041"/>
                  <a:ext cx="242460" cy="242460"/>
                </a:xfrm>
                <a:prstGeom prst="rect">
                  <a:avLst/>
                </a:prstGeom>
                <a:solidFill>
                  <a:schemeClr val="bg1"/>
                </a:solidFill>
                <a:ln w="6350">
                  <a:solidFill>
                    <a:srgbClr val="00A4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73" name="Groep 172"/>
                <p:cNvGrpSpPr/>
                <p:nvPr/>
              </p:nvGrpSpPr>
              <p:grpSpPr>
                <a:xfrm>
                  <a:off x="14568035" y="5357818"/>
                  <a:ext cx="199836" cy="175226"/>
                  <a:chOff x="14559757" y="5349611"/>
                  <a:chExt cx="216392" cy="191641"/>
                </a:xfrm>
              </p:grpSpPr>
              <p:sp>
                <p:nvSpPr>
                  <p:cNvPr id="174" name="Parallellogram 173"/>
                  <p:cNvSpPr/>
                  <p:nvPr/>
                </p:nvSpPr>
                <p:spPr>
                  <a:xfrm>
                    <a:off x="14559757" y="5369222"/>
                    <a:ext cx="214316" cy="147762"/>
                  </a:xfrm>
                  <a:prstGeom prst="parallelogram">
                    <a:avLst>
                      <a:gd name="adj" fmla="val 93909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75" name="Parallellogram 174"/>
                  <p:cNvSpPr/>
                  <p:nvPr/>
                </p:nvSpPr>
                <p:spPr>
                  <a:xfrm flipH="1">
                    <a:off x="14561833" y="5349611"/>
                    <a:ext cx="214316" cy="191641"/>
                  </a:xfrm>
                  <a:prstGeom prst="parallelogram">
                    <a:avLst>
                      <a:gd name="adj" fmla="val 68946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sp>
          <p:nvSpPr>
            <p:cNvPr id="77" name="Rechthoek 76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CHART</a:t>
              </a:r>
            </a:p>
          </p:txBody>
        </p:sp>
        <p:sp>
          <p:nvSpPr>
            <p:cNvPr id="78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 chart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9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</a:t>
              </a: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graph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you want to use </a:t>
              </a:r>
              <a:b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0" name="Ovaal 79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81" name="Ovaal 80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82" name="Rechte verbindingslijn 81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rgbClr val="3560AB"/>
              </a:solidFill>
              <a:prstDash val="solid"/>
            </a:ln>
            <a:effectLst/>
          </p:spPr>
        </p:cxnSp>
        <p:cxnSp>
          <p:nvCxnSpPr>
            <p:cNvPr id="84" name="Rechte verbindingslijn 83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rgbClr val="3560AB"/>
              </a:solidFill>
              <a:prstDash val="solid"/>
            </a:ln>
            <a:effectLst/>
          </p:spPr>
        </p:cxnSp>
        <p:cxnSp>
          <p:nvCxnSpPr>
            <p:cNvPr id="86" name="Rechte verbindingslijn 85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rgbClr val="3560AB"/>
              </a:solidFill>
              <a:prstDash val="solid"/>
            </a:ln>
            <a:effectLst/>
          </p:spPr>
        </p:cxnSp>
        <p:sp>
          <p:nvSpPr>
            <p:cNvPr id="155" name="Tekstvak 33"/>
            <p:cNvSpPr txBox="1"/>
            <p:nvPr/>
          </p:nvSpPr>
          <p:spPr>
            <a:xfrm>
              <a:off x="12479311" y="5259838"/>
              <a:ext cx="2588841" cy="447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 the chart, click on the right mouse button and choose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Edit data’</a:t>
              </a:r>
            </a:p>
          </p:txBody>
        </p:sp>
        <p:cxnSp>
          <p:nvCxnSpPr>
            <p:cNvPr id="156" name="Rechte verbindingslijn 155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57" name="Groep 156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161" name="Afgeronde rechthoek 160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2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/>
                  <a:t>Insert</a:t>
                </a:r>
              </a:p>
            </p:txBody>
          </p:sp>
          <p:cxnSp>
            <p:nvCxnSpPr>
              <p:cNvPr id="163" name="Rechte verbindingslijn 162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" name="Gelijkbenige driehoek 163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158" name="Rechthoek 157"/>
            <p:cNvSpPr/>
            <p:nvPr/>
          </p:nvSpPr>
          <p:spPr>
            <a:xfrm>
              <a:off x="12483705" y="4856599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DIT CHART</a:t>
              </a:r>
            </a:p>
          </p:txBody>
        </p:sp>
        <p:cxnSp>
          <p:nvCxnSpPr>
            <p:cNvPr id="159" name="Rechte verbindingslijn 158"/>
            <p:cNvCxnSpPr/>
            <p:nvPr/>
          </p:nvCxnSpPr>
          <p:spPr>
            <a:xfrm>
              <a:off x="12487778" y="5145063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rgbClr val="3560AB"/>
              </a:solidFill>
              <a:prstDash val="solid"/>
            </a:ln>
            <a:effectLst/>
          </p:spPr>
        </p:cxnSp>
        <p:pic>
          <p:nvPicPr>
            <p:cNvPr id="160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54186" y="6395104"/>
              <a:ext cx="158644" cy="2564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25976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Table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enter title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First bullets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en-GB" baseline="0" noProof="0"/>
              <a:t>Text + Table (50%/50%)</a:t>
            </a:r>
            <a:endParaRPr lang="en-GB" noProof="0"/>
          </a:p>
        </p:txBody>
      </p:sp>
      <p:sp>
        <p:nvSpPr>
          <p:cNvPr id="86" name="Tijdelijke aanduiding voor tabel 13"/>
          <p:cNvSpPr>
            <a:spLocks noGrp="1"/>
          </p:cNvSpPr>
          <p:nvPr>
            <p:ph type="tbl" sz="quarter" idx="15" hasCustomPrompt="1"/>
          </p:nvPr>
        </p:nvSpPr>
        <p:spPr>
          <a:xfrm>
            <a:off x="6106274" y="1092201"/>
            <a:ext cx="562680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GB" noProof="0"/>
              <a:t>Table</a:t>
            </a:r>
          </a:p>
        </p:txBody>
      </p:sp>
      <p:sp>
        <p:nvSpPr>
          <p:cNvPr id="84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58929" y="1092201"/>
            <a:ext cx="5286867" cy="4680000"/>
          </a:xfrm>
        </p:spPr>
        <p:txBody>
          <a:bodyPr vert="horz"/>
          <a:lstStyle/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  <a:p>
            <a:pPr lvl="4"/>
            <a:r>
              <a:rPr lang="en-GB" noProof="0"/>
              <a:t>Third bullet level</a:t>
            </a:r>
          </a:p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</p:txBody>
      </p:sp>
      <p:grpSp>
        <p:nvGrpSpPr>
          <p:cNvPr id="111" name="Instruction Table"/>
          <p:cNvGrpSpPr/>
          <p:nvPr userDrawn="1"/>
        </p:nvGrpSpPr>
        <p:grpSpPr>
          <a:xfrm>
            <a:off x="12856841" y="23313"/>
            <a:ext cx="2609094" cy="4339920"/>
            <a:chOff x="12470972" y="-5444"/>
            <a:chExt cx="2609094" cy="4339920"/>
          </a:xfrm>
        </p:grpSpPr>
        <p:grpSp>
          <p:nvGrpSpPr>
            <p:cNvPr id="112" name="Groep 111"/>
            <p:cNvGrpSpPr/>
            <p:nvPr/>
          </p:nvGrpSpPr>
          <p:grpSpPr>
            <a:xfrm>
              <a:off x="12478620" y="1489205"/>
              <a:ext cx="615489" cy="522454"/>
              <a:chOff x="3793456" y="3603"/>
              <a:chExt cx="4527394" cy="473968"/>
            </a:xfrm>
          </p:grpSpPr>
          <p:grpSp>
            <p:nvGrpSpPr>
              <p:cNvPr id="126" name="Group 4"/>
              <p:cNvGrpSpPr>
                <a:grpSpLocks noChangeAspect="1"/>
              </p:cNvGrpSpPr>
              <p:nvPr userDrawn="1"/>
            </p:nvGrpSpPr>
            <p:grpSpPr bwMode="auto">
              <a:xfrm>
                <a:off x="3793456" y="3603"/>
                <a:ext cx="4526989" cy="473968"/>
                <a:chOff x="1782" y="145"/>
                <a:chExt cx="2674" cy="2270"/>
              </a:xfrm>
            </p:grpSpPr>
            <p:sp>
              <p:nvSpPr>
                <p:cNvPr id="133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807" y="145"/>
                  <a:ext cx="2649" cy="2270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rgbClr val="96969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+mj-lt"/>
                  </a:endParaRPr>
                </a:p>
              </p:txBody>
            </p:sp>
            <p:sp>
              <p:nvSpPr>
                <p:cNvPr id="134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799" y="145"/>
                  <a:ext cx="2657" cy="439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009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+mj-lt"/>
                  </a:endParaRPr>
                </a:p>
              </p:txBody>
            </p:sp>
            <p:sp>
              <p:nvSpPr>
                <p:cNvPr id="135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782" y="1469"/>
                  <a:ext cx="2655" cy="29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+mj-lt"/>
                  </a:endParaRPr>
                </a:p>
              </p:txBody>
            </p:sp>
          </p:grpSp>
          <p:cxnSp>
            <p:nvCxnSpPr>
              <p:cNvPr id="127" name="Rechte verbindingslijn 126"/>
              <p:cNvCxnSpPr/>
              <p:nvPr userDrawn="1"/>
            </p:nvCxnSpPr>
            <p:spPr>
              <a:xfrm flipH="1">
                <a:off x="6086136" y="96647"/>
                <a:ext cx="6024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Rechte verbindingslijn 127"/>
              <p:cNvCxnSpPr/>
              <p:nvPr userDrawn="1"/>
            </p:nvCxnSpPr>
            <p:spPr>
              <a:xfrm>
                <a:off x="7281567" y="96647"/>
                <a:ext cx="0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Rechte verbindingslijn 128"/>
              <p:cNvCxnSpPr/>
              <p:nvPr userDrawn="1"/>
            </p:nvCxnSpPr>
            <p:spPr>
              <a:xfrm>
                <a:off x="4905299" y="96186"/>
                <a:ext cx="0" cy="377505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Rechte verbindingslijn 129"/>
              <p:cNvCxnSpPr/>
              <p:nvPr userDrawn="1"/>
            </p:nvCxnSpPr>
            <p:spPr>
              <a:xfrm flipH="1">
                <a:off x="3836186" y="181242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Rechte verbindingslijn 130"/>
              <p:cNvCxnSpPr/>
              <p:nvPr userDrawn="1"/>
            </p:nvCxnSpPr>
            <p:spPr>
              <a:xfrm flipH="1">
                <a:off x="3836186" y="280466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Rechte verbindingslijn 131"/>
              <p:cNvCxnSpPr/>
              <p:nvPr userDrawn="1"/>
            </p:nvCxnSpPr>
            <p:spPr>
              <a:xfrm flipH="1">
                <a:off x="3836186" y="392407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3" name="Rechthoek 112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TABLE</a:t>
              </a:r>
            </a:p>
          </p:txBody>
        </p:sp>
        <p:sp>
          <p:nvSpPr>
            <p:cNvPr id="114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 table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5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 the number of rows and columns you prefer and click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OK’</a:t>
              </a:r>
            </a:p>
          </p:txBody>
        </p:sp>
        <p:sp>
          <p:nvSpPr>
            <p:cNvPr id="116" name="Ovaal 115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17" name="Ovaal 116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118" name="Rechte verbindingslijn 11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rgbClr val="3560AB"/>
              </a:solidFill>
              <a:prstDash val="solid"/>
            </a:ln>
            <a:effectLst/>
          </p:spPr>
        </p:cxnSp>
        <p:cxnSp>
          <p:nvCxnSpPr>
            <p:cNvPr id="119" name="Rechte verbindingslijn 118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rgbClr val="3560AB"/>
              </a:solidFill>
              <a:prstDash val="solid"/>
            </a:ln>
            <a:effectLst/>
          </p:spPr>
        </p:cxnSp>
        <p:cxnSp>
          <p:nvCxnSpPr>
            <p:cNvPr id="120" name="Rechte verbindingslijn 119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rgbClr val="3560AB"/>
              </a:solidFill>
              <a:prstDash val="solid"/>
            </a:ln>
            <a:effectLst/>
          </p:spPr>
        </p:cxnSp>
        <p:grpSp>
          <p:nvGrpSpPr>
            <p:cNvPr id="121" name="Groep 120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122" name="Afgeronde rechthoek 121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3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/>
                  <a:t>OK</a:t>
                </a:r>
              </a:p>
            </p:txBody>
          </p:sp>
          <p:cxnSp>
            <p:nvCxnSpPr>
              <p:cNvPr id="124" name="Rechte verbindingslijn 123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5" name="Gelijkbenige driehoek 124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36679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enter title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First bullets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/>
              <a:t>Text + Graph (50%/50%)</a:t>
            </a:r>
            <a:endParaRPr lang="nl-NL"/>
          </a:p>
        </p:txBody>
      </p:sp>
      <p:sp>
        <p:nvSpPr>
          <p:cNvPr id="85" name="Tijdelijke aanduiding voor grafiek 13"/>
          <p:cNvSpPr>
            <a:spLocks noGrp="1"/>
          </p:cNvSpPr>
          <p:nvPr>
            <p:ph type="chart" sz="quarter" idx="16" hasCustomPrompt="1"/>
          </p:nvPr>
        </p:nvSpPr>
        <p:spPr>
          <a:xfrm>
            <a:off x="6108700" y="1092201"/>
            <a:ext cx="5625426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GB" noProof="0"/>
              <a:t>Graph</a:t>
            </a:r>
          </a:p>
        </p:txBody>
      </p:sp>
      <p:sp>
        <p:nvSpPr>
          <p:cNvPr id="84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58929" y="1092201"/>
            <a:ext cx="5265610" cy="4680000"/>
          </a:xfrm>
        </p:spPr>
        <p:txBody>
          <a:bodyPr vert="horz"/>
          <a:lstStyle/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  <a:p>
            <a:pPr lvl="4"/>
            <a:r>
              <a:rPr lang="en-GB" noProof="0"/>
              <a:t>Third bullet level</a:t>
            </a:r>
          </a:p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</p:txBody>
      </p:sp>
      <p:grpSp>
        <p:nvGrpSpPr>
          <p:cNvPr id="154" name="Instruction Chart &amp; Edit"/>
          <p:cNvGrpSpPr/>
          <p:nvPr userDrawn="1"/>
        </p:nvGrpSpPr>
        <p:grpSpPr>
          <a:xfrm>
            <a:off x="12760160" y="23584"/>
            <a:ext cx="2697278" cy="6868888"/>
            <a:chOff x="12382788" y="-5444"/>
            <a:chExt cx="2697278" cy="6868888"/>
          </a:xfrm>
        </p:grpSpPr>
        <p:grpSp>
          <p:nvGrpSpPr>
            <p:cNvPr id="155" name="Groep 154"/>
            <p:cNvGrpSpPr/>
            <p:nvPr userDrawn="1"/>
          </p:nvGrpSpPr>
          <p:grpSpPr>
            <a:xfrm>
              <a:off x="12382788" y="1480224"/>
              <a:ext cx="689983" cy="573048"/>
              <a:chOff x="15171969" y="1587338"/>
              <a:chExt cx="755407" cy="627385"/>
            </a:xfrm>
          </p:grpSpPr>
          <p:sp>
            <p:nvSpPr>
              <p:cNvPr id="209" name="Rechthoek 962"/>
              <p:cNvSpPr/>
              <p:nvPr userDrawn="1"/>
            </p:nvSpPr>
            <p:spPr>
              <a:xfrm>
                <a:off x="15171969" y="2008934"/>
                <a:ext cx="755407" cy="205789"/>
              </a:xfrm>
              <a:custGeom>
                <a:avLst/>
                <a:gdLst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664132 w 664132"/>
                  <a:gd name="connsiteY2" fmla="*/ 27778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664132"/>
                  <a:gd name="connsiteY0" fmla="*/ 0 h 290487"/>
                  <a:gd name="connsiteX1" fmla="*/ 664132 w 664132"/>
                  <a:gd name="connsiteY1" fmla="*/ 0 h 290487"/>
                  <a:gd name="connsiteX2" fmla="*/ 333932 w 664132"/>
                  <a:gd name="connsiteY2" fmla="*/ 290487 h 290487"/>
                  <a:gd name="connsiteX3" fmla="*/ 0 w 664132"/>
                  <a:gd name="connsiteY3" fmla="*/ 277787 h 290487"/>
                  <a:gd name="connsiteX4" fmla="*/ 0 w 664132"/>
                  <a:gd name="connsiteY4" fmla="*/ 0 h 290487"/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575232 w 664132"/>
                  <a:gd name="connsiteY2" fmla="*/ 27143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708582"/>
                  <a:gd name="connsiteY0" fmla="*/ 0 h 277787"/>
                  <a:gd name="connsiteX1" fmla="*/ 708582 w 708582"/>
                  <a:gd name="connsiteY1" fmla="*/ 31750 h 277787"/>
                  <a:gd name="connsiteX2" fmla="*/ 575232 w 708582"/>
                  <a:gd name="connsiteY2" fmla="*/ 271437 h 277787"/>
                  <a:gd name="connsiteX3" fmla="*/ 0 w 708582"/>
                  <a:gd name="connsiteY3" fmla="*/ 277787 h 277787"/>
                  <a:gd name="connsiteX4" fmla="*/ 0 w 708582"/>
                  <a:gd name="connsiteY4" fmla="*/ 0 h 277787"/>
                  <a:gd name="connsiteX0" fmla="*/ 228600 w 708582"/>
                  <a:gd name="connsiteY0" fmla="*/ 6350 h 246037"/>
                  <a:gd name="connsiteX1" fmla="*/ 708582 w 708582"/>
                  <a:gd name="connsiteY1" fmla="*/ 0 h 246037"/>
                  <a:gd name="connsiteX2" fmla="*/ 575232 w 708582"/>
                  <a:gd name="connsiteY2" fmla="*/ 239687 h 246037"/>
                  <a:gd name="connsiteX3" fmla="*/ 0 w 708582"/>
                  <a:gd name="connsiteY3" fmla="*/ 246037 h 246037"/>
                  <a:gd name="connsiteX4" fmla="*/ 228600 w 708582"/>
                  <a:gd name="connsiteY4" fmla="*/ 6350 h 246037"/>
                  <a:gd name="connsiteX0" fmla="*/ 228600 w 778432"/>
                  <a:gd name="connsiteY0" fmla="*/ 0 h 239687"/>
                  <a:gd name="connsiteX1" fmla="*/ 778432 w 778432"/>
                  <a:gd name="connsiteY1" fmla="*/ 25400 h 239687"/>
                  <a:gd name="connsiteX2" fmla="*/ 575232 w 778432"/>
                  <a:gd name="connsiteY2" fmla="*/ 233337 h 239687"/>
                  <a:gd name="connsiteX3" fmla="*/ 0 w 778432"/>
                  <a:gd name="connsiteY3" fmla="*/ 239687 h 239687"/>
                  <a:gd name="connsiteX4" fmla="*/ 228600 w 778432"/>
                  <a:gd name="connsiteY4" fmla="*/ 0 h 239687"/>
                  <a:gd name="connsiteX0" fmla="*/ 228600 w 778432"/>
                  <a:gd name="connsiteY0" fmla="*/ 0 h 214287"/>
                  <a:gd name="connsiteX1" fmla="*/ 778432 w 778432"/>
                  <a:gd name="connsiteY1" fmla="*/ 0 h 214287"/>
                  <a:gd name="connsiteX2" fmla="*/ 575232 w 778432"/>
                  <a:gd name="connsiteY2" fmla="*/ 207937 h 214287"/>
                  <a:gd name="connsiteX3" fmla="*/ 0 w 778432"/>
                  <a:gd name="connsiteY3" fmla="*/ 214287 h 214287"/>
                  <a:gd name="connsiteX4" fmla="*/ 228600 w 778432"/>
                  <a:gd name="connsiteY4" fmla="*/ 0 h 214287"/>
                  <a:gd name="connsiteX0" fmla="*/ 228600 w 730724"/>
                  <a:gd name="connsiteY0" fmla="*/ 3975 h 218262"/>
                  <a:gd name="connsiteX1" fmla="*/ 730724 w 730724"/>
                  <a:gd name="connsiteY1" fmla="*/ 0 h 218262"/>
                  <a:gd name="connsiteX2" fmla="*/ 575232 w 730724"/>
                  <a:gd name="connsiteY2" fmla="*/ 211912 h 218262"/>
                  <a:gd name="connsiteX3" fmla="*/ 0 w 730724"/>
                  <a:gd name="connsiteY3" fmla="*/ 218262 h 218262"/>
                  <a:gd name="connsiteX4" fmla="*/ 228600 w 730724"/>
                  <a:gd name="connsiteY4" fmla="*/ 3975 h 218262"/>
                  <a:gd name="connsiteX0" fmla="*/ 252454 w 754578"/>
                  <a:gd name="connsiteY0" fmla="*/ 3975 h 211912"/>
                  <a:gd name="connsiteX1" fmla="*/ 754578 w 754578"/>
                  <a:gd name="connsiteY1" fmla="*/ 0 h 211912"/>
                  <a:gd name="connsiteX2" fmla="*/ 599086 w 754578"/>
                  <a:gd name="connsiteY2" fmla="*/ 211912 h 211912"/>
                  <a:gd name="connsiteX3" fmla="*/ 0 w 754578"/>
                  <a:gd name="connsiteY3" fmla="*/ 210311 h 211912"/>
                  <a:gd name="connsiteX4" fmla="*/ 252454 w 754578"/>
                  <a:gd name="connsiteY4" fmla="*/ 3975 h 211912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599086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754578"/>
                  <a:gd name="connsiteY0" fmla="*/ 0 h 223840"/>
                  <a:gd name="connsiteX1" fmla="*/ 754578 w 754578"/>
                  <a:gd name="connsiteY1" fmla="*/ 7952 h 223840"/>
                  <a:gd name="connsiteX2" fmla="*/ 654745 w 754578"/>
                  <a:gd name="connsiteY2" fmla="*/ 223840 h 223840"/>
                  <a:gd name="connsiteX3" fmla="*/ 0 w 754578"/>
                  <a:gd name="connsiteY3" fmla="*/ 218263 h 223840"/>
                  <a:gd name="connsiteX4" fmla="*/ 172941 w 754578"/>
                  <a:gd name="connsiteY4" fmla="*/ 0 h 223840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646793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818189"/>
                  <a:gd name="connsiteY0" fmla="*/ 0 h 219864"/>
                  <a:gd name="connsiteX1" fmla="*/ 818189 w 818189"/>
                  <a:gd name="connsiteY1" fmla="*/ 31806 h 219864"/>
                  <a:gd name="connsiteX2" fmla="*/ 646793 w 818189"/>
                  <a:gd name="connsiteY2" fmla="*/ 219864 h 219864"/>
                  <a:gd name="connsiteX3" fmla="*/ 0 w 818189"/>
                  <a:gd name="connsiteY3" fmla="*/ 218263 h 219864"/>
                  <a:gd name="connsiteX4" fmla="*/ 172941 w 818189"/>
                  <a:gd name="connsiteY4" fmla="*/ 0 h 219864"/>
                  <a:gd name="connsiteX0" fmla="*/ 172941 w 806262"/>
                  <a:gd name="connsiteY0" fmla="*/ 0 h 219864"/>
                  <a:gd name="connsiteX1" fmla="*/ 806262 w 806262"/>
                  <a:gd name="connsiteY1" fmla="*/ 11928 h 219864"/>
                  <a:gd name="connsiteX2" fmla="*/ 646793 w 806262"/>
                  <a:gd name="connsiteY2" fmla="*/ 219864 h 219864"/>
                  <a:gd name="connsiteX3" fmla="*/ 0 w 806262"/>
                  <a:gd name="connsiteY3" fmla="*/ 218263 h 219864"/>
                  <a:gd name="connsiteX4" fmla="*/ 172941 w 806262"/>
                  <a:gd name="connsiteY4" fmla="*/ 0 h 219864"/>
                  <a:gd name="connsiteX0" fmla="*/ 172941 w 798310"/>
                  <a:gd name="connsiteY0" fmla="*/ 0 h 219864"/>
                  <a:gd name="connsiteX1" fmla="*/ 798310 w 798310"/>
                  <a:gd name="connsiteY1" fmla="*/ 15903 h 219864"/>
                  <a:gd name="connsiteX2" fmla="*/ 646793 w 798310"/>
                  <a:gd name="connsiteY2" fmla="*/ 219864 h 219864"/>
                  <a:gd name="connsiteX3" fmla="*/ 0 w 798310"/>
                  <a:gd name="connsiteY3" fmla="*/ 218263 h 219864"/>
                  <a:gd name="connsiteX4" fmla="*/ 172941 w 798310"/>
                  <a:gd name="connsiteY4" fmla="*/ 0 h 219864"/>
                  <a:gd name="connsiteX0" fmla="*/ 172941 w 798310"/>
                  <a:gd name="connsiteY0" fmla="*/ 0 h 259620"/>
                  <a:gd name="connsiteX1" fmla="*/ 798310 w 798310"/>
                  <a:gd name="connsiteY1" fmla="*/ 15903 h 259620"/>
                  <a:gd name="connsiteX2" fmla="*/ 614988 w 798310"/>
                  <a:gd name="connsiteY2" fmla="*/ 259620 h 259620"/>
                  <a:gd name="connsiteX3" fmla="*/ 0 w 798310"/>
                  <a:gd name="connsiteY3" fmla="*/ 218263 h 259620"/>
                  <a:gd name="connsiteX4" fmla="*/ 172941 w 798310"/>
                  <a:gd name="connsiteY4" fmla="*/ 0 h 259620"/>
                  <a:gd name="connsiteX0" fmla="*/ 188843 w 814212"/>
                  <a:gd name="connsiteY0" fmla="*/ 0 h 259620"/>
                  <a:gd name="connsiteX1" fmla="*/ 814212 w 814212"/>
                  <a:gd name="connsiteY1" fmla="*/ 15903 h 259620"/>
                  <a:gd name="connsiteX2" fmla="*/ 630890 w 814212"/>
                  <a:gd name="connsiteY2" fmla="*/ 259620 h 259620"/>
                  <a:gd name="connsiteX3" fmla="*/ 0 w 814212"/>
                  <a:gd name="connsiteY3" fmla="*/ 254043 h 259620"/>
                  <a:gd name="connsiteX4" fmla="*/ 188843 w 814212"/>
                  <a:gd name="connsiteY4" fmla="*/ 0 h 259620"/>
                  <a:gd name="connsiteX0" fmla="*/ 208721 w 834090"/>
                  <a:gd name="connsiteY0" fmla="*/ 0 h 259620"/>
                  <a:gd name="connsiteX1" fmla="*/ 834090 w 834090"/>
                  <a:gd name="connsiteY1" fmla="*/ 15903 h 259620"/>
                  <a:gd name="connsiteX2" fmla="*/ 650768 w 834090"/>
                  <a:gd name="connsiteY2" fmla="*/ 259620 h 259620"/>
                  <a:gd name="connsiteX3" fmla="*/ 0 w 834090"/>
                  <a:gd name="connsiteY3" fmla="*/ 254043 h 259620"/>
                  <a:gd name="connsiteX4" fmla="*/ 208721 w 834090"/>
                  <a:gd name="connsiteY4" fmla="*/ 0 h 259620"/>
                  <a:gd name="connsiteX0" fmla="*/ 268356 w 893725"/>
                  <a:gd name="connsiteY0" fmla="*/ 0 h 259620"/>
                  <a:gd name="connsiteX1" fmla="*/ 893725 w 893725"/>
                  <a:gd name="connsiteY1" fmla="*/ 15903 h 259620"/>
                  <a:gd name="connsiteX2" fmla="*/ 710403 w 893725"/>
                  <a:gd name="connsiteY2" fmla="*/ 259620 h 259620"/>
                  <a:gd name="connsiteX3" fmla="*/ 0 w 893725"/>
                  <a:gd name="connsiteY3" fmla="*/ 254043 h 259620"/>
                  <a:gd name="connsiteX4" fmla="*/ 268356 w 893725"/>
                  <a:gd name="connsiteY4" fmla="*/ 0 h 259620"/>
                  <a:gd name="connsiteX0" fmla="*/ 260405 w 885774"/>
                  <a:gd name="connsiteY0" fmla="*/ 0 h 259620"/>
                  <a:gd name="connsiteX1" fmla="*/ 885774 w 885774"/>
                  <a:gd name="connsiteY1" fmla="*/ 15903 h 259620"/>
                  <a:gd name="connsiteX2" fmla="*/ 702452 w 885774"/>
                  <a:gd name="connsiteY2" fmla="*/ 259620 h 259620"/>
                  <a:gd name="connsiteX3" fmla="*/ 0 w 885774"/>
                  <a:gd name="connsiteY3" fmla="*/ 254043 h 259620"/>
                  <a:gd name="connsiteX4" fmla="*/ 260405 w 885774"/>
                  <a:gd name="connsiteY4" fmla="*/ 0 h 259620"/>
                  <a:gd name="connsiteX0" fmla="*/ 220648 w 885774"/>
                  <a:gd name="connsiteY0" fmla="*/ 0 h 243717"/>
                  <a:gd name="connsiteX1" fmla="*/ 885774 w 885774"/>
                  <a:gd name="connsiteY1" fmla="*/ 0 h 243717"/>
                  <a:gd name="connsiteX2" fmla="*/ 702452 w 885774"/>
                  <a:gd name="connsiteY2" fmla="*/ 243717 h 243717"/>
                  <a:gd name="connsiteX3" fmla="*/ 0 w 885774"/>
                  <a:gd name="connsiteY3" fmla="*/ 238140 h 243717"/>
                  <a:gd name="connsiteX4" fmla="*/ 220648 w 885774"/>
                  <a:gd name="connsiteY4" fmla="*/ 0 h 243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5774" h="243717">
                    <a:moveTo>
                      <a:pt x="220648" y="0"/>
                    </a:moveTo>
                    <a:lnTo>
                      <a:pt x="885774" y="0"/>
                    </a:lnTo>
                    <a:lnTo>
                      <a:pt x="702452" y="243717"/>
                    </a:lnTo>
                    <a:lnTo>
                      <a:pt x="0" y="238140"/>
                    </a:lnTo>
                    <a:lnTo>
                      <a:pt x="220648" y="0"/>
                    </a:lnTo>
                    <a:close/>
                  </a:path>
                </a:pathLst>
              </a:custGeom>
              <a:solidFill>
                <a:srgbClr val="FFFFFF">
                  <a:lumMod val="50000"/>
                </a:srgbClr>
              </a:solidFill>
              <a:ln w="25400" cap="flat" cmpd="sng" algn="ctr">
                <a:noFill/>
                <a:prstDash val="solid"/>
              </a:ln>
              <a:effectLst>
                <a:softEdge rad="31750"/>
              </a:effectLst>
            </p:spPr>
            <p:txBody>
              <a:bodyPr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210" name="Groep 209"/>
              <p:cNvGrpSpPr/>
              <p:nvPr userDrawn="1"/>
            </p:nvGrpSpPr>
            <p:grpSpPr>
              <a:xfrm>
                <a:off x="15281106" y="1587338"/>
                <a:ext cx="511775" cy="560304"/>
                <a:chOff x="10604642" y="969717"/>
                <a:chExt cx="1290643" cy="1427163"/>
              </a:xfrm>
            </p:grpSpPr>
            <p:grpSp>
              <p:nvGrpSpPr>
                <p:cNvPr id="211" name="Group 879"/>
                <p:cNvGrpSpPr>
                  <a:grpSpLocks noChangeAspect="1"/>
                </p:cNvGrpSpPr>
                <p:nvPr userDrawn="1"/>
              </p:nvGrpSpPr>
              <p:grpSpPr bwMode="auto">
                <a:xfrm>
                  <a:off x="10604642" y="969717"/>
                  <a:ext cx="1290643" cy="1427163"/>
                  <a:chOff x="4798" y="1515"/>
                  <a:chExt cx="813" cy="899"/>
                </a:xfrm>
              </p:grpSpPr>
              <p:sp>
                <p:nvSpPr>
                  <p:cNvPr id="213" name="Freeform 886"/>
                  <p:cNvSpPr>
                    <a:spLocks/>
                  </p:cNvSpPr>
                  <p:nvPr userDrawn="1"/>
                </p:nvSpPr>
                <p:spPr bwMode="auto">
                  <a:xfrm>
                    <a:off x="5269" y="1515"/>
                    <a:ext cx="71" cy="898"/>
                  </a:xfrm>
                  <a:custGeom>
                    <a:avLst/>
                    <a:gdLst>
                      <a:gd name="T0" fmla="*/ 282 w 282"/>
                      <a:gd name="T1" fmla="*/ 0 h 3595"/>
                      <a:gd name="T2" fmla="*/ 282 w 282"/>
                      <a:gd name="T3" fmla="*/ 3138 h 3595"/>
                      <a:gd name="T4" fmla="*/ 0 w 282"/>
                      <a:gd name="T5" fmla="*/ 3595 h 3595"/>
                      <a:gd name="T6" fmla="*/ 0 w 282"/>
                      <a:gd name="T7" fmla="*/ 285 h 3595"/>
                      <a:gd name="T8" fmla="*/ 282 w 282"/>
                      <a:gd name="T9" fmla="*/ 0 h 35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82" h="3595">
                        <a:moveTo>
                          <a:pt x="282" y="0"/>
                        </a:moveTo>
                        <a:lnTo>
                          <a:pt x="282" y="3138"/>
                        </a:lnTo>
                        <a:lnTo>
                          <a:pt x="0" y="3595"/>
                        </a:lnTo>
                        <a:lnTo>
                          <a:pt x="0" y="285"/>
                        </a:lnTo>
                        <a:lnTo>
                          <a:pt x="282" y="0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214" name="Rectangle 880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515"/>
                    <a:ext cx="813" cy="899"/>
                  </a:xfrm>
                  <a:prstGeom prst="rect">
                    <a:avLst/>
                  </a:prstGeom>
                  <a:noFill/>
                  <a:ln w="0">
                    <a:noFill/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215" name="Rectangle 881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857"/>
                    <a:ext cx="228" cy="55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002060"/>
                      </a:gs>
                      <a:gs pos="100000">
                        <a:srgbClr val="1929FF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216" name="Freeform 882"/>
                  <p:cNvSpPr>
                    <a:spLocks/>
                  </p:cNvSpPr>
                  <p:nvPr userDrawn="1"/>
                </p:nvSpPr>
                <p:spPr bwMode="auto">
                  <a:xfrm>
                    <a:off x="4798" y="1771"/>
                    <a:ext cx="314" cy="86"/>
                  </a:xfrm>
                  <a:custGeom>
                    <a:avLst/>
                    <a:gdLst>
                      <a:gd name="T0" fmla="*/ 411 w 1255"/>
                      <a:gd name="T1" fmla="*/ 0 h 342"/>
                      <a:gd name="T2" fmla="*/ 1255 w 1255"/>
                      <a:gd name="T3" fmla="*/ 0 h 342"/>
                      <a:gd name="T4" fmla="*/ 913 w 1255"/>
                      <a:gd name="T5" fmla="*/ 342 h 342"/>
                      <a:gd name="T6" fmla="*/ 0 w 1255"/>
                      <a:gd name="T7" fmla="*/ 342 h 342"/>
                      <a:gd name="T8" fmla="*/ 411 w 1255"/>
                      <a:gd name="T9" fmla="*/ 0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255" h="342">
                        <a:moveTo>
                          <a:pt x="411" y="0"/>
                        </a:moveTo>
                        <a:lnTo>
                          <a:pt x="1255" y="0"/>
                        </a:lnTo>
                        <a:lnTo>
                          <a:pt x="913" y="342"/>
                        </a:lnTo>
                        <a:lnTo>
                          <a:pt x="0" y="342"/>
                        </a:lnTo>
                        <a:lnTo>
                          <a:pt x="411" y="0"/>
                        </a:lnTo>
                        <a:close/>
                      </a:path>
                    </a:pathLst>
                  </a:custGeom>
                  <a:solidFill>
                    <a:srgbClr val="0039AC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217" name="Freeform 883"/>
                  <p:cNvSpPr>
                    <a:spLocks/>
                  </p:cNvSpPr>
                  <p:nvPr userDrawn="1"/>
                </p:nvSpPr>
                <p:spPr bwMode="auto">
                  <a:xfrm>
                    <a:off x="5026" y="1771"/>
                    <a:ext cx="85" cy="642"/>
                  </a:xfrm>
                  <a:custGeom>
                    <a:avLst/>
                    <a:gdLst>
                      <a:gd name="T0" fmla="*/ 342 w 342"/>
                      <a:gd name="T1" fmla="*/ 0 h 2568"/>
                      <a:gd name="T2" fmla="*/ 342 w 342"/>
                      <a:gd name="T3" fmla="*/ 2111 h 2568"/>
                      <a:gd name="T4" fmla="*/ 0 w 342"/>
                      <a:gd name="T5" fmla="*/ 2568 h 2568"/>
                      <a:gd name="T6" fmla="*/ 0 w 342"/>
                      <a:gd name="T7" fmla="*/ 342 h 2568"/>
                      <a:gd name="T8" fmla="*/ 342 w 342"/>
                      <a:gd name="T9" fmla="*/ 0 h 25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568">
                        <a:moveTo>
                          <a:pt x="342" y="0"/>
                        </a:moveTo>
                        <a:lnTo>
                          <a:pt x="342" y="2111"/>
                        </a:lnTo>
                        <a:lnTo>
                          <a:pt x="0" y="2568"/>
                        </a:lnTo>
                        <a:lnTo>
                          <a:pt x="0" y="342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000075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218" name="Freeform 884"/>
                  <p:cNvSpPr>
                    <a:spLocks/>
                  </p:cNvSpPr>
                  <p:nvPr userDrawn="1"/>
                </p:nvSpPr>
                <p:spPr bwMode="auto">
                  <a:xfrm>
                    <a:off x="5054" y="1515"/>
                    <a:ext cx="286" cy="72"/>
                  </a:xfrm>
                  <a:custGeom>
                    <a:avLst/>
                    <a:gdLst>
                      <a:gd name="T0" fmla="*/ 318 w 1140"/>
                      <a:gd name="T1" fmla="*/ 0 h 289"/>
                      <a:gd name="T2" fmla="*/ 1140 w 1140"/>
                      <a:gd name="T3" fmla="*/ 0 h 289"/>
                      <a:gd name="T4" fmla="*/ 855 w 1140"/>
                      <a:gd name="T5" fmla="*/ 289 h 289"/>
                      <a:gd name="T6" fmla="*/ 0 w 1140"/>
                      <a:gd name="T7" fmla="*/ 289 h 289"/>
                      <a:gd name="T8" fmla="*/ 318 w 1140"/>
                      <a:gd name="T9" fmla="*/ 0 h 2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0" h="289">
                        <a:moveTo>
                          <a:pt x="318" y="0"/>
                        </a:moveTo>
                        <a:lnTo>
                          <a:pt x="1140" y="0"/>
                        </a:lnTo>
                        <a:lnTo>
                          <a:pt x="855" y="289"/>
                        </a:lnTo>
                        <a:lnTo>
                          <a:pt x="0" y="289"/>
                        </a:lnTo>
                        <a:lnTo>
                          <a:pt x="318" y="0"/>
                        </a:lnTo>
                        <a:close/>
                      </a:path>
                    </a:pathLst>
                  </a:custGeom>
                  <a:solidFill>
                    <a:srgbClr val="EEFF26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219" name="Rectangle 885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054" y="1587"/>
                    <a:ext cx="215" cy="82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FFC000"/>
                      </a:gs>
                      <a:gs pos="100000">
                        <a:srgbClr val="FFFF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220" name="Rectangle 887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298" y="1771"/>
                    <a:ext cx="228" cy="643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B80004"/>
                      </a:gs>
                      <a:gs pos="100000">
                        <a:srgbClr val="FF00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221" name="Freeform 888"/>
                  <p:cNvSpPr>
                    <a:spLocks/>
                  </p:cNvSpPr>
                  <p:nvPr userDrawn="1"/>
                </p:nvSpPr>
                <p:spPr bwMode="auto">
                  <a:xfrm>
                    <a:off x="5526" y="1686"/>
                    <a:ext cx="85" cy="727"/>
                  </a:xfrm>
                  <a:custGeom>
                    <a:avLst/>
                    <a:gdLst>
                      <a:gd name="T0" fmla="*/ 342 w 342"/>
                      <a:gd name="T1" fmla="*/ 0 h 2911"/>
                      <a:gd name="T2" fmla="*/ 342 w 342"/>
                      <a:gd name="T3" fmla="*/ 2477 h 2911"/>
                      <a:gd name="T4" fmla="*/ 0 w 342"/>
                      <a:gd name="T5" fmla="*/ 2911 h 2911"/>
                      <a:gd name="T6" fmla="*/ 0 w 342"/>
                      <a:gd name="T7" fmla="*/ 334 h 2911"/>
                      <a:gd name="T8" fmla="*/ 342 w 342"/>
                      <a:gd name="T9" fmla="*/ 0 h 29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911">
                        <a:moveTo>
                          <a:pt x="342" y="0"/>
                        </a:moveTo>
                        <a:lnTo>
                          <a:pt x="342" y="2477"/>
                        </a:lnTo>
                        <a:lnTo>
                          <a:pt x="0" y="2911"/>
                        </a:lnTo>
                        <a:lnTo>
                          <a:pt x="0" y="334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C2001B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  <p:sp>
              <p:nvSpPr>
                <p:cNvPr id="212" name="Vrije vorm 211"/>
                <p:cNvSpPr/>
                <p:nvPr userDrawn="1"/>
              </p:nvSpPr>
              <p:spPr>
                <a:xfrm>
                  <a:off x="11389225" y="1241176"/>
                  <a:ext cx="506025" cy="137883"/>
                </a:xfrm>
                <a:custGeom>
                  <a:avLst/>
                  <a:gdLst>
                    <a:gd name="connsiteX0" fmla="*/ 0 w 508407"/>
                    <a:gd name="connsiteY0" fmla="*/ 142646 h 146304"/>
                    <a:gd name="connsiteX1" fmla="*/ 369418 w 508407"/>
                    <a:gd name="connsiteY1" fmla="*/ 146304 h 146304"/>
                    <a:gd name="connsiteX2" fmla="*/ 508407 w 508407"/>
                    <a:gd name="connsiteY2" fmla="*/ 0 h 146304"/>
                    <a:gd name="connsiteX3" fmla="*/ 168250 w 508407"/>
                    <a:gd name="connsiteY3" fmla="*/ 0 h 146304"/>
                    <a:gd name="connsiteX4" fmla="*/ 0 w 508407"/>
                    <a:gd name="connsiteY4" fmla="*/ 142646 h 146304"/>
                    <a:gd name="connsiteX0" fmla="*/ 0 w 508407"/>
                    <a:gd name="connsiteY0" fmla="*/ 142646 h 142646"/>
                    <a:gd name="connsiteX1" fmla="*/ 376562 w 508407"/>
                    <a:gd name="connsiteY1" fmla="*/ 136779 h 142646"/>
                    <a:gd name="connsiteX2" fmla="*/ 508407 w 508407"/>
                    <a:gd name="connsiteY2" fmla="*/ 0 h 142646"/>
                    <a:gd name="connsiteX3" fmla="*/ 168250 w 508407"/>
                    <a:gd name="connsiteY3" fmla="*/ 0 h 142646"/>
                    <a:gd name="connsiteX4" fmla="*/ 0 w 508407"/>
                    <a:gd name="connsiteY4" fmla="*/ 142646 h 142646"/>
                    <a:gd name="connsiteX0" fmla="*/ 0 w 506025"/>
                    <a:gd name="connsiteY0" fmla="*/ 137883 h 137883"/>
                    <a:gd name="connsiteX1" fmla="*/ 374180 w 506025"/>
                    <a:gd name="connsiteY1" fmla="*/ 136779 h 137883"/>
                    <a:gd name="connsiteX2" fmla="*/ 506025 w 506025"/>
                    <a:gd name="connsiteY2" fmla="*/ 0 h 137883"/>
                    <a:gd name="connsiteX3" fmla="*/ 165868 w 506025"/>
                    <a:gd name="connsiteY3" fmla="*/ 0 h 137883"/>
                    <a:gd name="connsiteX4" fmla="*/ 0 w 506025"/>
                    <a:gd name="connsiteY4" fmla="*/ 137883 h 137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6025" h="137883">
                      <a:moveTo>
                        <a:pt x="0" y="137883"/>
                      </a:moveTo>
                      <a:lnTo>
                        <a:pt x="374180" y="136779"/>
                      </a:lnTo>
                      <a:lnTo>
                        <a:pt x="506025" y="0"/>
                      </a:lnTo>
                      <a:lnTo>
                        <a:pt x="165868" y="0"/>
                      </a:lnTo>
                      <a:lnTo>
                        <a:pt x="0" y="137883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156" name="Groep 155"/>
            <p:cNvGrpSpPr/>
            <p:nvPr/>
          </p:nvGrpSpPr>
          <p:grpSpPr>
            <a:xfrm>
              <a:off x="12487778" y="6003628"/>
              <a:ext cx="1980859" cy="542924"/>
              <a:chOff x="12390702" y="6054428"/>
              <a:chExt cx="1980859" cy="542924"/>
            </a:xfrm>
          </p:grpSpPr>
          <p:sp>
            <p:nvSpPr>
              <p:cNvPr id="175" name="Rechthoek 174"/>
              <p:cNvSpPr/>
              <p:nvPr/>
            </p:nvSpPr>
            <p:spPr>
              <a:xfrm>
                <a:off x="12402284" y="6054428"/>
                <a:ext cx="1969277" cy="54292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76" name="Rechthoek 175"/>
              <p:cNvSpPr/>
              <p:nvPr/>
            </p:nvSpPr>
            <p:spPr>
              <a:xfrm>
                <a:off x="12662053" y="6062530"/>
                <a:ext cx="1268296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100">
                    <a:latin typeface="Calibri" panose="020F0502020204030204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Change chart type</a:t>
                </a:r>
              </a:p>
            </p:txBody>
          </p:sp>
          <p:sp>
            <p:nvSpPr>
              <p:cNvPr id="177" name="Gelijkbenige driehoek 176"/>
              <p:cNvSpPr/>
              <p:nvPr/>
            </p:nvSpPr>
            <p:spPr>
              <a:xfrm rot="5400000">
                <a:off x="14210471" y="6150144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78" name="Afgeronde rechthoek 177"/>
              <p:cNvSpPr/>
              <p:nvPr/>
            </p:nvSpPr>
            <p:spPr>
              <a:xfrm>
                <a:off x="12390702" y="6322741"/>
                <a:ext cx="1973675" cy="268314"/>
              </a:xfrm>
              <a:prstGeom prst="roundRect">
                <a:avLst/>
              </a:prstGeom>
              <a:gradFill>
                <a:gsLst>
                  <a:gs pos="0">
                    <a:srgbClr val="FFF2BD"/>
                  </a:gs>
                  <a:gs pos="34000">
                    <a:srgbClr val="FFE98B"/>
                  </a:gs>
                  <a:gs pos="78000">
                    <a:srgbClr val="FFF5C9"/>
                  </a:gs>
                  <a:gs pos="59000">
                    <a:srgbClr val="FFE98B"/>
                  </a:gs>
                </a:gsLst>
                <a:lin ang="5400000" scaled="0"/>
              </a:gradFill>
              <a:ln w="635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tlCol="0" anchor="ctr"/>
              <a:lstStyle/>
              <a:p>
                <a:r>
                  <a:rPr lang="en-US" sz="1200">
                    <a:solidFill>
                      <a:schemeClr val="tx1"/>
                    </a:solidFill>
                    <a:latin typeface="Calibri" panose="020F0502020204030204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Edit data</a:t>
                </a:r>
              </a:p>
            </p:txBody>
          </p:sp>
          <p:grpSp>
            <p:nvGrpSpPr>
              <p:cNvPr id="179" name="Groep 178"/>
              <p:cNvGrpSpPr/>
              <p:nvPr/>
            </p:nvGrpSpPr>
            <p:grpSpPr>
              <a:xfrm>
                <a:off x="12461788" y="6100223"/>
                <a:ext cx="204691" cy="170000"/>
                <a:chOff x="15171969" y="1587338"/>
                <a:chExt cx="755407" cy="627385"/>
              </a:xfrm>
            </p:grpSpPr>
            <p:sp>
              <p:nvSpPr>
                <p:cNvPr id="196" name="Rechthoek 962"/>
                <p:cNvSpPr/>
                <p:nvPr userDrawn="1"/>
              </p:nvSpPr>
              <p:spPr>
                <a:xfrm>
                  <a:off x="15171969" y="2008934"/>
                  <a:ext cx="755407" cy="205789"/>
                </a:xfrm>
                <a:custGeom>
                  <a:avLst/>
                  <a:gdLst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664132 w 664132"/>
                    <a:gd name="connsiteY2" fmla="*/ 27778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664132"/>
                    <a:gd name="connsiteY0" fmla="*/ 0 h 290487"/>
                    <a:gd name="connsiteX1" fmla="*/ 664132 w 664132"/>
                    <a:gd name="connsiteY1" fmla="*/ 0 h 290487"/>
                    <a:gd name="connsiteX2" fmla="*/ 333932 w 664132"/>
                    <a:gd name="connsiteY2" fmla="*/ 290487 h 290487"/>
                    <a:gd name="connsiteX3" fmla="*/ 0 w 664132"/>
                    <a:gd name="connsiteY3" fmla="*/ 277787 h 290487"/>
                    <a:gd name="connsiteX4" fmla="*/ 0 w 664132"/>
                    <a:gd name="connsiteY4" fmla="*/ 0 h 290487"/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575232 w 664132"/>
                    <a:gd name="connsiteY2" fmla="*/ 27143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708582"/>
                    <a:gd name="connsiteY0" fmla="*/ 0 h 277787"/>
                    <a:gd name="connsiteX1" fmla="*/ 708582 w 708582"/>
                    <a:gd name="connsiteY1" fmla="*/ 31750 h 277787"/>
                    <a:gd name="connsiteX2" fmla="*/ 575232 w 708582"/>
                    <a:gd name="connsiteY2" fmla="*/ 271437 h 277787"/>
                    <a:gd name="connsiteX3" fmla="*/ 0 w 708582"/>
                    <a:gd name="connsiteY3" fmla="*/ 277787 h 277787"/>
                    <a:gd name="connsiteX4" fmla="*/ 0 w 708582"/>
                    <a:gd name="connsiteY4" fmla="*/ 0 h 277787"/>
                    <a:gd name="connsiteX0" fmla="*/ 228600 w 708582"/>
                    <a:gd name="connsiteY0" fmla="*/ 6350 h 246037"/>
                    <a:gd name="connsiteX1" fmla="*/ 708582 w 708582"/>
                    <a:gd name="connsiteY1" fmla="*/ 0 h 246037"/>
                    <a:gd name="connsiteX2" fmla="*/ 575232 w 708582"/>
                    <a:gd name="connsiteY2" fmla="*/ 239687 h 246037"/>
                    <a:gd name="connsiteX3" fmla="*/ 0 w 708582"/>
                    <a:gd name="connsiteY3" fmla="*/ 246037 h 246037"/>
                    <a:gd name="connsiteX4" fmla="*/ 228600 w 708582"/>
                    <a:gd name="connsiteY4" fmla="*/ 6350 h 246037"/>
                    <a:gd name="connsiteX0" fmla="*/ 228600 w 778432"/>
                    <a:gd name="connsiteY0" fmla="*/ 0 h 239687"/>
                    <a:gd name="connsiteX1" fmla="*/ 778432 w 778432"/>
                    <a:gd name="connsiteY1" fmla="*/ 25400 h 239687"/>
                    <a:gd name="connsiteX2" fmla="*/ 575232 w 778432"/>
                    <a:gd name="connsiteY2" fmla="*/ 233337 h 239687"/>
                    <a:gd name="connsiteX3" fmla="*/ 0 w 778432"/>
                    <a:gd name="connsiteY3" fmla="*/ 239687 h 239687"/>
                    <a:gd name="connsiteX4" fmla="*/ 228600 w 778432"/>
                    <a:gd name="connsiteY4" fmla="*/ 0 h 239687"/>
                    <a:gd name="connsiteX0" fmla="*/ 228600 w 778432"/>
                    <a:gd name="connsiteY0" fmla="*/ 0 h 214287"/>
                    <a:gd name="connsiteX1" fmla="*/ 778432 w 778432"/>
                    <a:gd name="connsiteY1" fmla="*/ 0 h 214287"/>
                    <a:gd name="connsiteX2" fmla="*/ 575232 w 778432"/>
                    <a:gd name="connsiteY2" fmla="*/ 207937 h 214287"/>
                    <a:gd name="connsiteX3" fmla="*/ 0 w 778432"/>
                    <a:gd name="connsiteY3" fmla="*/ 214287 h 214287"/>
                    <a:gd name="connsiteX4" fmla="*/ 228600 w 778432"/>
                    <a:gd name="connsiteY4" fmla="*/ 0 h 214287"/>
                    <a:gd name="connsiteX0" fmla="*/ 228600 w 730724"/>
                    <a:gd name="connsiteY0" fmla="*/ 3975 h 218262"/>
                    <a:gd name="connsiteX1" fmla="*/ 730724 w 730724"/>
                    <a:gd name="connsiteY1" fmla="*/ 0 h 218262"/>
                    <a:gd name="connsiteX2" fmla="*/ 575232 w 730724"/>
                    <a:gd name="connsiteY2" fmla="*/ 211912 h 218262"/>
                    <a:gd name="connsiteX3" fmla="*/ 0 w 730724"/>
                    <a:gd name="connsiteY3" fmla="*/ 218262 h 218262"/>
                    <a:gd name="connsiteX4" fmla="*/ 228600 w 730724"/>
                    <a:gd name="connsiteY4" fmla="*/ 3975 h 218262"/>
                    <a:gd name="connsiteX0" fmla="*/ 252454 w 754578"/>
                    <a:gd name="connsiteY0" fmla="*/ 3975 h 211912"/>
                    <a:gd name="connsiteX1" fmla="*/ 754578 w 754578"/>
                    <a:gd name="connsiteY1" fmla="*/ 0 h 211912"/>
                    <a:gd name="connsiteX2" fmla="*/ 599086 w 754578"/>
                    <a:gd name="connsiteY2" fmla="*/ 211912 h 211912"/>
                    <a:gd name="connsiteX3" fmla="*/ 0 w 754578"/>
                    <a:gd name="connsiteY3" fmla="*/ 210311 h 211912"/>
                    <a:gd name="connsiteX4" fmla="*/ 252454 w 754578"/>
                    <a:gd name="connsiteY4" fmla="*/ 3975 h 211912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599086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754578"/>
                    <a:gd name="connsiteY0" fmla="*/ 0 h 223840"/>
                    <a:gd name="connsiteX1" fmla="*/ 754578 w 754578"/>
                    <a:gd name="connsiteY1" fmla="*/ 7952 h 223840"/>
                    <a:gd name="connsiteX2" fmla="*/ 654745 w 754578"/>
                    <a:gd name="connsiteY2" fmla="*/ 223840 h 223840"/>
                    <a:gd name="connsiteX3" fmla="*/ 0 w 754578"/>
                    <a:gd name="connsiteY3" fmla="*/ 218263 h 223840"/>
                    <a:gd name="connsiteX4" fmla="*/ 172941 w 754578"/>
                    <a:gd name="connsiteY4" fmla="*/ 0 h 223840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646793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818189"/>
                    <a:gd name="connsiteY0" fmla="*/ 0 h 219864"/>
                    <a:gd name="connsiteX1" fmla="*/ 818189 w 818189"/>
                    <a:gd name="connsiteY1" fmla="*/ 31806 h 219864"/>
                    <a:gd name="connsiteX2" fmla="*/ 646793 w 818189"/>
                    <a:gd name="connsiteY2" fmla="*/ 219864 h 219864"/>
                    <a:gd name="connsiteX3" fmla="*/ 0 w 818189"/>
                    <a:gd name="connsiteY3" fmla="*/ 218263 h 219864"/>
                    <a:gd name="connsiteX4" fmla="*/ 172941 w 818189"/>
                    <a:gd name="connsiteY4" fmla="*/ 0 h 219864"/>
                    <a:gd name="connsiteX0" fmla="*/ 172941 w 806262"/>
                    <a:gd name="connsiteY0" fmla="*/ 0 h 219864"/>
                    <a:gd name="connsiteX1" fmla="*/ 806262 w 806262"/>
                    <a:gd name="connsiteY1" fmla="*/ 11928 h 219864"/>
                    <a:gd name="connsiteX2" fmla="*/ 646793 w 806262"/>
                    <a:gd name="connsiteY2" fmla="*/ 219864 h 219864"/>
                    <a:gd name="connsiteX3" fmla="*/ 0 w 806262"/>
                    <a:gd name="connsiteY3" fmla="*/ 218263 h 219864"/>
                    <a:gd name="connsiteX4" fmla="*/ 172941 w 806262"/>
                    <a:gd name="connsiteY4" fmla="*/ 0 h 219864"/>
                    <a:gd name="connsiteX0" fmla="*/ 172941 w 798310"/>
                    <a:gd name="connsiteY0" fmla="*/ 0 h 219864"/>
                    <a:gd name="connsiteX1" fmla="*/ 798310 w 798310"/>
                    <a:gd name="connsiteY1" fmla="*/ 15903 h 219864"/>
                    <a:gd name="connsiteX2" fmla="*/ 646793 w 798310"/>
                    <a:gd name="connsiteY2" fmla="*/ 219864 h 219864"/>
                    <a:gd name="connsiteX3" fmla="*/ 0 w 798310"/>
                    <a:gd name="connsiteY3" fmla="*/ 218263 h 219864"/>
                    <a:gd name="connsiteX4" fmla="*/ 172941 w 798310"/>
                    <a:gd name="connsiteY4" fmla="*/ 0 h 219864"/>
                    <a:gd name="connsiteX0" fmla="*/ 172941 w 798310"/>
                    <a:gd name="connsiteY0" fmla="*/ 0 h 259620"/>
                    <a:gd name="connsiteX1" fmla="*/ 798310 w 798310"/>
                    <a:gd name="connsiteY1" fmla="*/ 15903 h 259620"/>
                    <a:gd name="connsiteX2" fmla="*/ 614988 w 798310"/>
                    <a:gd name="connsiteY2" fmla="*/ 259620 h 259620"/>
                    <a:gd name="connsiteX3" fmla="*/ 0 w 798310"/>
                    <a:gd name="connsiteY3" fmla="*/ 218263 h 259620"/>
                    <a:gd name="connsiteX4" fmla="*/ 172941 w 798310"/>
                    <a:gd name="connsiteY4" fmla="*/ 0 h 259620"/>
                    <a:gd name="connsiteX0" fmla="*/ 188843 w 814212"/>
                    <a:gd name="connsiteY0" fmla="*/ 0 h 259620"/>
                    <a:gd name="connsiteX1" fmla="*/ 814212 w 814212"/>
                    <a:gd name="connsiteY1" fmla="*/ 15903 h 259620"/>
                    <a:gd name="connsiteX2" fmla="*/ 630890 w 814212"/>
                    <a:gd name="connsiteY2" fmla="*/ 259620 h 259620"/>
                    <a:gd name="connsiteX3" fmla="*/ 0 w 814212"/>
                    <a:gd name="connsiteY3" fmla="*/ 254043 h 259620"/>
                    <a:gd name="connsiteX4" fmla="*/ 188843 w 814212"/>
                    <a:gd name="connsiteY4" fmla="*/ 0 h 259620"/>
                    <a:gd name="connsiteX0" fmla="*/ 208721 w 834090"/>
                    <a:gd name="connsiteY0" fmla="*/ 0 h 259620"/>
                    <a:gd name="connsiteX1" fmla="*/ 834090 w 834090"/>
                    <a:gd name="connsiteY1" fmla="*/ 15903 h 259620"/>
                    <a:gd name="connsiteX2" fmla="*/ 650768 w 834090"/>
                    <a:gd name="connsiteY2" fmla="*/ 259620 h 259620"/>
                    <a:gd name="connsiteX3" fmla="*/ 0 w 834090"/>
                    <a:gd name="connsiteY3" fmla="*/ 254043 h 259620"/>
                    <a:gd name="connsiteX4" fmla="*/ 208721 w 834090"/>
                    <a:gd name="connsiteY4" fmla="*/ 0 h 259620"/>
                    <a:gd name="connsiteX0" fmla="*/ 268356 w 893725"/>
                    <a:gd name="connsiteY0" fmla="*/ 0 h 259620"/>
                    <a:gd name="connsiteX1" fmla="*/ 893725 w 893725"/>
                    <a:gd name="connsiteY1" fmla="*/ 15903 h 259620"/>
                    <a:gd name="connsiteX2" fmla="*/ 710403 w 893725"/>
                    <a:gd name="connsiteY2" fmla="*/ 259620 h 259620"/>
                    <a:gd name="connsiteX3" fmla="*/ 0 w 893725"/>
                    <a:gd name="connsiteY3" fmla="*/ 254043 h 259620"/>
                    <a:gd name="connsiteX4" fmla="*/ 268356 w 893725"/>
                    <a:gd name="connsiteY4" fmla="*/ 0 h 259620"/>
                    <a:gd name="connsiteX0" fmla="*/ 260405 w 885774"/>
                    <a:gd name="connsiteY0" fmla="*/ 0 h 259620"/>
                    <a:gd name="connsiteX1" fmla="*/ 885774 w 885774"/>
                    <a:gd name="connsiteY1" fmla="*/ 15903 h 259620"/>
                    <a:gd name="connsiteX2" fmla="*/ 702452 w 885774"/>
                    <a:gd name="connsiteY2" fmla="*/ 259620 h 259620"/>
                    <a:gd name="connsiteX3" fmla="*/ 0 w 885774"/>
                    <a:gd name="connsiteY3" fmla="*/ 254043 h 259620"/>
                    <a:gd name="connsiteX4" fmla="*/ 260405 w 885774"/>
                    <a:gd name="connsiteY4" fmla="*/ 0 h 259620"/>
                    <a:gd name="connsiteX0" fmla="*/ 220648 w 885774"/>
                    <a:gd name="connsiteY0" fmla="*/ 0 h 243717"/>
                    <a:gd name="connsiteX1" fmla="*/ 885774 w 885774"/>
                    <a:gd name="connsiteY1" fmla="*/ 0 h 243717"/>
                    <a:gd name="connsiteX2" fmla="*/ 702452 w 885774"/>
                    <a:gd name="connsiteY2" fmla="*/ 243717 h 243717"/>
                    <a:gd name="connsiteX3" fmla="*/ 0 w 885774"/>
                    <a:gd name="connsiteY3" fmla="*/ 238140 h 243717"/>
                    <a:gd name="connsiteX4" fmla="*/ 220648 w 885774"/>
                    <a:gd name="connsiteY4" fmla="*/ 0 h 243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5774" h="243717">
                      <a:moveTo>
                        <a:pt x="220648" y="0"/>
                      </a:moveTo>
                      <a:lnTo>
                        <a:pt x="885774" y="0"/>
                      </a:lnTo>
                      <a:lnTo>
                        <a:pt x="702452" y="243717"/>
                      </a:lnTo>
                      <a:lnTo>
                        <a:pt x="0" y="238140"/>
                      </a:lnTo>
                      <a:lnTo>
                        <a:pt x="220648" y="0"/>
                      </a:lnTo>
                      <a:close/>
                    </a:path>
                  </a:pathLst>
                </a:cu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>
                  <a:softEdge rad="31750"/>
                </a:effectLst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97" name="Groep 196"/>
                <p:cNvGrpSpPr/>
                <p:nvPr userDrawn="1"/>
              </p:nvGrpSpPr>
              <p:grpSpPr>
                <a:xfrm>
                  <a:off x="15281106" y="1587338"/>
                  <a:ext cx="511775" cy="560304"/>
                  <a:chOff x="10604642" y="969717"/>
                  <a:chExt cx="1290643" cy="1427163"/>
                </a:xfrm>
              </p:grpSpPr>
              <p:grpSp>
                <p:nvGrpSpPr>
                  <p:cNvPr id="198" name="Group 879"/>
                  <p:cNvGrpSpPr>
                    <a:grpSpLocks noChangeAspect="1"/>
                  </p:cNvGrpSpPr>
                  <p:nvPr userDrawn="1"/>
                </p:nvGrpSpPr>
                <p:grpSpPr bwMode="auto">
                  <a:xfrm>
                    <a:off x="10604642" y="969717"/>
                    <a:ext cx="1290643" cy="1427163"/>
                    <a:chOff x="4798" y="1515"/>
                    <a:chExt cx="813" cy="899"/>
                  </a:xfrm>
                </p:grpSpPr>
                <p:sp>
                  <p:nvSpPr>
                    <p:cNvPr id="200" name="Freeform 886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269" y="1515"/>
                      <a:ext cx="71" cy="898"/>
                    </a:xfrm>
                    <a:custGeom>
                      <a:avLst/>
                      <a:gdLst>
                        <a:gd name="T0" fmla="*/ 282 w 282"/>
                        <a:gd name="T1" fmla="*/ 0 h 3595"/>
                        <a:gd name="T2" fmla="*/ 282 w 282"/>
                        <a:gd name="T3" fmla="*/ 3138 h 3595"/>
                        <a:gd name="T4" fmla="*/ 0 w 282"/>
                        <a:gd name="T5" fmla="*/ 3595 h 3595"/>
                        <a:gd name="T6" fmla="*/ 0 w 282"/>
                        <a:gd name="T7" fmla="*/ 285 h 3595"/>
                        <a:gd name="T8" fmla="*/ 282 w 282"/>
                        <a:gd name="T9" fmla="*/ 0 h 35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2" h="3595">
                          <a:moveTo>
                            <a:pt x="282" y="0"/>
                          </a:moveTo>
                          <a:lnTo>
                            <a:pt x="282" y="3138"/>
                          </a:lnTo>
                          <a:lnTo>
                            <a:pt x="0" y="3595"/>
                          </a:lnTo>
                          <a:lnTo>
                            <a:pt x="0" y="285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C000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201" name="Rectangle 880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515"/>
                      <a:ext cx="813" cy="899"/>
                    </a:xfrm>
                    <a:prstGeom prst="rect">
                      <a:avLst/>
                    </a:prstGeom>
                    <a:no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202" name="Rectangle 881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857"/>
                      <a:ext cx="228" cy="55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002060"/>
                        </a:gs>
                        <a:gs pos="100000">
                          <a:srgbClr val="1929FF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203" name="Freeform 882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4798" y="1771"/>
                      <a:ext cx="314" cy="86"/>
                    </a:xfrm>
                    <a:custGeom>
                      <a:avLst/>
                      <a:gdLst>
                        <a:gd name="T0" fmla="*/ 411 w 1255"/>
                        <a:gd name="T1" fmla="*/ 0 h 342"/>
                        <a:gd name="T2" fmla="*/ 1255 w 1255"/>
                        <a:gd name="T3" fmla="*/ 0 h 342"/>
                        <a:gd name="T4" fmla="*/ 913 w 1255"/>
                        <a:gd name="T5" fmla="*/ 342 h 342"/>
                        <a:gd name="T6" fmla="*/ 0 w 1255"/>
                        <a:gd name="T7" fmla="*/ 342 h 342"/>
                        <a:gd name="T8" fmla="*/ 411 w 1255"/>
                        <a:gd name="T9" fmla="*/ 0 h 3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55" h="342">
                          <a:moveTo>
                            <a:pt x="411" y="0"/>
                          </a:moveTo>
                          <a:lnTo>
                            <a:pt x="1255" y="0"/>
                          </a:lnTo>
                          <a:lnTo>
                            <a:pt x="913" y="342"/>
                          </a:lnTo>
                          <a:lnTo>
                            <a:pt x="0" y="342"/>
                          </a:lnTo>
                          <a:lnTo>
                            <a:pt x="411" y="0"/>
                          </a:lnTo>
                          <a:close/>
                        </a:path>
                      </a:pathLst>
                    </a:custGeom>
                    <a:solidFill>
                      <a:srgbClr val="0039AC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204" name="Freeform 883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26" y="1771"/>
                      <a:ext cx="85" cy="642"/>
                    </a:xfrm>
                    <a:custGeom>
                      <a:avLst/>
                      <a:gdLst>
                        <a:gd name="T0" fmla="*/ 342 w 342"/>
                        <a:gd name="T1" fmla="*/ 0 h 2568"/>
                        <a:gd name="T2" fmla="*/ 342 w 342"/>
                        <a:gd name="T3" fmla="*/ 2111 h 2568"/>
                        <a:gd name="T4" fmla="*/ 0 w 342"/>
                        <a:gd name="T5" fmla="*/ 2568 h 2568"/>
                        <a:gd name="T6" fmla="*/ 0 w 342"/>
                        <a:gd name="T7" fmla="*/ 342 h 2568"/>
                        <a:gd name="T8" fmla="*/ 342 w 342"/>
                        <a:gd name="T9" fmla="*/ 0 h 25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568">
                          <a:moveTo>
                            <a:pt x="342" y="0"/>
                          </a:moveTo>
                          <a:lnTo>
                            <a:pt x="342" y="2111"/>
                          </a:lnTo>
                          <a:lnTo>
                            <a:pt x="0" y="2568"/>
                          </a:lnTo>
                          <a:lnTo>
                            <a:pt x="0" y="342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000075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205" name="Freeform 884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54" y="1515"/>
                      <a:ext cx="286" cy="72"/>
                    </a:xfrm>
                    <a:custGeom>
                      <a:avLst/>
                      <a:gdLst>
                        <a:gd name="T0" fmla="*/ 318 w 1140"/>
                        <a:gd name="T1" fmla="*/ 0 h 289"/>
                        <a:gd name="T2" fmla="*/ 1140 w 1140"/>
                        <a:gd name="T3" fmla="*/ 0 h 289"/>
                        <a:gd name="T4" fmla="*/ 855 w 1140"/>
                        <a:gd name="T5" fmla="*/ 289 h 289"/>
                        <a:gd name="T6" fmla="*/ 0 w 1140"/>
                        <a:gd name="T7" fmla="*/ 289 h 289"/>
                        <a:gd name="T8" fmla="*/ 318 w 1140"/>
                        <a:gd name="T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40" h="289">
                          <a:moveTo>
                            <a:pt x="318" y="0"/>
                          </a:moveTo>
                          <a:lnTo>
                            <a:pt x="1140" y="0"/>
                          </a:lnTo>
                          <a:lnTo>
                            <a:pt x="855" y="289"/>
                          </a:lnTo>
                          <a:lnTo>
                            <a:pt x="0" y="289"/>
                          </a:lnTo>
                          <a:lnTo>
                            <a:pt x="318" y="0"/>
                          </a:lnTo>
                          <a:close/>
                        </a:path>
                      </a:pathLst>
                    </a:custGeom>
                    <a:solidFill>
                      <a:srgbClr val="EEFF26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206" name="Rectangle 885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054" y="1587"/>
                      <a:ext cx="215" cy="82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FFC000"/>
                        </a:gs>
                        <a:gs pos="100000">
                          <a:srgbClr val="FFFF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207" name="Rectangle 887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298" y="1771"/>
                      <a:ext cx="228" cy="643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B80004"/>
                        </a:gs>
                        <a:gs pos="100000">
                          <a:srgbClr val="FF00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208" name="Freeform 888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526" y="1686"/>
                      <a:ext cx="85" cy="727"/>
                    </a:xfrm>
                    <a:custGeom>
                      <a:avLst/>
                      <a:gdLst>
                        <a:gd name="T0" fmla="*/ 342 w 342"/>
                        <a:gd name="T1" fmla="*/ 0 h 2911"/>
                        <a:gd name="T2" fmla="*/ 342 w 342"/>
                        <a:gd name="T3" fmla="*/ 2477 h 2911"/>
                        <a:gd name="T4" fmla="*/ 0 w 342"/>
                        <a:gd name="T5" fmla="*/ 2911 h 2911"/>
                        <a:gd name="T6" fmla="*/ 0 w 342"/>
                        <a:gd name="T7" fmla="*/ 334 h 2911"/>
                        <a:gd name="T8" fmla="*/ 342 w 342"/>
                        <a:gd name="T9" fmla="*/ 0 h 29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911">
                          <a:moveTo>
                            <a:pt x="342" y="0"/>
                          </a:moveTo>
                          <a:lnTo>
                            <a:pt x="342" y="2477"/>
                          </a:lnTo>
                          <a:lnTo>
                            <a:pt x="0" y="2911"/>
                          </a:lnTo>
                          <a:lnTo>
                            <a:pt x="0" y="334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C2001B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</p:grpSp>
              <p:sp>
                <p:nvSpPr>
                  <p:cNvPr id="199" name="Vrije vorm 198"/>
                  <p:cNvSpPr/>
                  <p:nvPr userDrawn="1"/>
                </p:nvSpPr>
                <p:spPr>
                  <a:xfrm>
                    <a:off x="11389225" y="1241176"/>
                    <a:ext cx="506025" cy="137883"/>
                  </a:xfrm>
                  <a:custGeom>
                    <a:avLst/>
                    <a:gdLst>
                      <a:gd name="connsiteX0" fmla="*/ 0 w 508407"/>
                      <a:gd name="connsiteY0" fmla="*/ 142646 h 146304"/>
                      <a:gd name="connsiteX1" fmla="*/ 369418 w 508407"/>
                      <a:gd name="connsiteY1" fmla="*/ 146304 h 146304"/>
                      <a:gd name="connsiteX2" fmla="*/ 508407 w 508407"/>
                      <a:gd name="connsiteY2" fmla="*/ 0 h 146304"/>
                      <a:gd name="connsiteX3" fmla="*/ 168250 w 508407"/>
                      <a:gd name="connsiteY3" fmla="*/ 0 h 146304"/>
                      <a:gd name="connsiteX4" fmla="*/ 0 w 508407"/>
                      <a:gd name="connsiteY4" fmla="*/ 142646 h 146304"/>
                      <a:gd name="connsiteX0" fmla="*/ 0 w 508407"/>
                      <a:gd name="connsiteY0" fmla="*/ 142646 h 142646"/>
                      <a:gd name="connsiteX1" fmla="*/ 376562 w 508407"/>
                      <a:gd name="connsiteY1" fmla="*/ 136779 h 142646"/>
                      <a:gd name="connsiteX2" fmla="*/ 508407 w 508407"/>
                      <a:gd name="connsiteY2" fmla="*/ 0 h 142646"/>
                      <a:gd name="connsiteX3" fmla="*/ 168250 w 508407"/>
                      <a:gd name="connsiteY3" fmla="*/ 0 h 142646"/>
                      <a:gd name="connsiteX4" fmla="*/ 0 w 508407"/>
                      <a:gd name="connsiteY4" fmla="*/ 142646 h 142646"/>
                      <a:gd name="connsiteX0" fmla="*/ 0 w 506025"/>
                      <a:gd name="connsiteY0" fmla="*/ 137883 h 137883"/>
                      <a:gd name="connsiteX1" fmla="*/ 374180 w 506025"/>
                      <a:gd name="connsiteY1" fmla="*/ 136779 h 137883"/>
                      <a:gd name="connsiteX2" fmla="*/ 506025 w 506025"/>
                      <a:gd name="connsiteY2" fmla="*/ 0 h 137883"/>
                      <a:gd name="connsiteX3" fmla="*/ 165868 w 506025"/>
                      <a:gd name="connsiteY3" fmla="*/ 0 h 137883"/>
                      <a:gd name="connsiteX4" fmla="*/ 0 w 506025"/>
                      <a:gd name="connsiteY4" fmla="*/ 137883 h 1378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6025" h="137883">
                        <a:moveTo>
                          <a:pt x="0" y="137883"/>
                        </a:moveTo>
                        <a:lnTo>
                          <a:pt x="374180" y="136779"/>
                        </a:lnTo>
                        <a:lnTo>
                          <a:pt x="506025" y="0"/>
                        </a:lnTo>
                        <a:lnTo>
                          <a:pt x="165868" y="0"/>
                        </a:lnTo>
                        <a:lnTo>
                          <a:pt x="0" y="137883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  <p:grpSp>
            <p:nvGrpSpPr>
              <p:cNvPr id="180" name="Groep 179"/>
              <p:cNvGrpSpPr/>
              <p:nvPr/>
            </p:nvGrpSpPr>
            <p:grpSpPr>
              <a:xfrm>
                <a:off x="12468521" y="6356844"/>
                <a:ext cx="133446" cy="114786"/>
                <a:chOff x="14587469" y="6356844"/>
                <a:chExt cx="133446" cy="114786"/>
              </a:xfrm>
            </p:grpSpPr>
            <p:sp>
              <p:nvSpPr>
                <p:cNvPr id="186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4588703" y="6379233"/>
                  <a:ext cx="130780" cy="91699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chemeClr val="bg2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7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4587469" y="6423761"/>
                  <a:ext cx="131076" cy="1446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8" name="Freeform 14"/>
                <p:cNvSpPr>
                  <a:spLocks noEditPoints="1"/>
                </p:cNvSpPr>
                <p:nvPr userDrawn="1"/>
              </p:nvSpPr>
              <p:spPr bwMode="auto">
                <a:xfrm>
                  <a:off x="14588901" y="6356844"/>
                  <a:ext cx="132014" cy="114786"/>
                </a:xfrm>
                <a:custGeom>
                  <a:avLst/>
                  <a:gdLst>
                    <a:gd name="T0" fmla="*/ 48 w 5347"/>
                    <a:gd name="T1" fmla="*/ 48 h 4605"/>
                    <a:gd name="T2" fmla="*/ 48 w 5347"/>
                    <a:gd name="T3" fmla="*/ 4557 h 4605"/>
                    <a:gd name="T4" fmla="*/ 5299 w 5347"/>
                    <a:gd name="T5" fmla="*/ 4557 h 4605"/>
                    <a:gd name="T6" fmla="*/ 5299 w 5347"/>
                    <a:gd name="T7" fmla="*/ 48 h 4605"/>
                    <a:gd name="T8" fmla="*/ 48 w 5347"/>
                    <a:gd name="T9" fmla="*/ 48 h 4605"/>
                    <a:gd name="T10" fmla="*/ 0 w 5347"/>
                    <a:gd name="T11" fmla="*/ 0 h 4605"/>
                    <a:gd name="T12" fmla="*/ 5347 w 5347"/>
                    <a:gd name="T13" fmla="*/ 0 h 4605"/>
                    <a:gd name="T14" fmla="*/ 5347 w 5347"/>
                    <a:gd name="T15" fmla="*/ 4605 h 4605"/>
                    <a:gd name="T16" fmla="*/ 0 w 5347"/>
                    <a:gd name="T17" fmla="*/ 4605 h 4605"/>
                    <a:gd name="T18" fmla="*/ 0 w 5347"/>
                    <a:gd name="T19" fmla="*/ 0 h 46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47" h="4605">
                      <a:moveTo>
                        <a:pt x="48" y="48"/>
                      </a:moveTo>
                      <a:lnTo>
                        <a:pt x="48" y="4557"/>
                      </a:lnTo>
                      <a:lnTo>
                        <a:pt x="5299" y="4557"/>
                      </a:lnTo>
                      <a:lnTo>
                        <a:pt x="5299" y="48"/>
                      </a:lnTo>
                      <a:lnTo>
                        <a:pt x="48" y="48"/>
                      </a:lnTo>
                      <a:close/>
                      <a:moveTo>
                        <a:pt x="0" y="0"/>
                      </a:moveTo>
                      <a:lnTo>
                        <a:pt x="5347" y="0"/>
                      </a:lnTo>
                      <a:lnTo>
                        <a:pt x="5347" y="4605"/>
                      </a:lnTo>
                      <a:lnTo>
                        <a:pt x="0" y="460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E5D8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cxnSp>
              <p:nvCxnSpPr>
                <p:cNvPr id="189" name="Rechte verbindingslijn 188"/>
                <p:cNvCxnSpPr/>
                <p:nvPr userDrawn="1"/>
              </p:nvCxnSpPr>
              <p:spPr>
                <a:xfrm flipH="1">
                  <a:off x="14654334" y="6382168"/>
                  <a:ext cx="162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0" name="Rechte verbindingslijn 189"/>
                <p:cNvCxnSpPr/>
                <p:nvPr userDrawn="1"/>
              </p:nvCxnSpPr>
              <p:spPr>
                <a:xfrm>
                  <a:off x="14689188" y="6382168"/>
                  <a:ext cx="0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" name="Rechte verbindingslijn 190"/>
                <p:cNvCxnSpPr/>
                <p:nvPr userDrawn="1"/>
              </p:nvCxnSpPr>
              <p:spPr>
                <a:xfrm>
                  <a:off x="14619892" y="6382040"/>
                  <a:ext cx="0" cy="8577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" name="Rechte verbindingslijn 191"/>
                <p:cNvCxnSpPr/>
                <p:nvPr userDrawn="1"/>
              </p:nvCxnSpPr>
              <p:spPr>
                <a:xfrm flipH="1">
                  <a:off x="14593115" y="6400164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 flipH="1">
                  <a:off x="14593115" y="6423860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 flipH="1">
                  <a:off x="14593115" y="6447556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5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4590283" y="6359138"/>
                  <a:ext cx="128657" cy="19347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192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81" name="Groep 180"/>
              <p:cNvGrpSpPr/>
              <p:nvPr/>
            </p:nvGrpSpPr>
            <p:grpSpPr>
              <a:xfrm>
                <a:off x="12529899" y="6421402"/>
                <a:ext cx="97399" cy="97399"/>
                <a:chOff x="14546483" y="5323041"/>
                <a:chExt cx="242460" cy="242460"/>
              </a:xfrm>
            </p:grpSpPr>
            <p:sp>
              <p:nvSpPr>
                <p:cNvPr id="182" name="Rechthoek 181"/>
                <p:cNvSpPr/>
                <p:nvPr userDrawn="1"/>
              </p:nvSpPr>
              <p:spPr>
                <a:xfrm>
                  <a:off x="14546483" y="5323041"/>
                  <a:ext cx="242460" cy="242460"/>
                </a:xfrm>
                <a:prstGeom prst="rect">
                  <a:avLst/>
                </a:prstGeom>
                <a:solidFill>
                  <a:schemeClr val="bg1"/>
                </a:solidFill>
                <a:ln w="6350">
                  <a:solidFill>
                    <a:srgbClr val="00A4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83" name="Groep 182"/>
                <p:cNvGrpSpPr/>
                <p:nvPr/>
              </p:nvGrpSpPr>
              <p:grpSpPr>
                <a:xfrm>
                  <a:off x="14568035" y="5357818"/>
                  <a:ext cx="199836" cy="175226"/>
                  <a:chOff x="14559757" y="5349611"/>
                  <a:chExt cx="216392" cy="191641"/>
                </a:xfrm>
              </p:grpSpPr>
              <p:sp>
                <p:nvSpPr>
                  <p:cNvPr id="184" name="Parallellogram 183"/>
                  <p:cNvSpPr/>
                  <p:nvPr/>
                </p:nvSpPr>
                <p:spPr>
                  <a:xfrm>
                    <a:off x="14559757" y="5369222"/>
                    <a:ext cx="214316" cy="147762"/>
                  </a:xfrm>
                  <a:prstGeom prst="parallelogram">
                    <a:avLst>
                      <a:gd name="adj" fmla="val 93909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85" name="Parallellogram 184"/>
                  <p:cNvSpPr/>
                  <p:nvPr/>
                </p:nvSpPr>
                <p:spPr>
                  <a:xfrm flipH="1">
                    <a:off x="14561833" y="5349611"/>
                    <a:ext cx="214316" cy="191641"/>
                  </a:xfrm>
                  <a:prstGeom prst="parallelogram">
                    <a:avLst>
                      <a:gd name="adj" fmla="val 68946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sp>
          <p:nvSpPr>
            <p:cNvPr id="157" name="Rechthoek 156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CHART</a:t>
              </a:r>
            </a:p>
          </p:txBody>
        </p:sp>
        <p:sp>
          <p:nvSpPr>
            <p:cNvPr id="158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 chart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9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</a:t>
              </a: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graph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you want to use </a:t>
              </a:r>
              <a:b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0" name="Ovaal 159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61" name="Ovaal 160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162" name="Rechte verbindingslijn 161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rgbClr val="3560AB"/>
              </a:solidFill>
              <a:prstDash val="solid"/>
            </a:ln>
            <a:effectLst/>
          </p:spPr>
        </p:cxnSp>
        <p:cxnSp>
          <p:nvCxnSpPr>
            <p:cNvPr id="163" name="Rechte verbindingslijn 162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rgbClr val="3560AB"/>
              </a:solidFill>
              <a:prstDash val="solid"/>
            </a:ln>
            <a:effectLst/>
          </p:spPr>
        </p:cxnSp>
        <p:cxnSp>
          <p:nvCxnSpPr>
            <p:cNvPr id="164" name="Rechte verbindingslijn 163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rgbClr val="3560AB"/>
              </a:solidFill>
              <a:prstDash val="solid"/>
            </a:ln>
            <a:effectLst/>
          </p:spPr>
        </p:cxnSp>
        <p:sp>
          <p:nvSpPr>
            <p:cNvPr id="165" name="Tekstvak 33"/>
            <p:cNvSpPr txBox="1"/>
            <p:nvPr/>
          </p:nvSpPr>
          <p:spPr>
            <a:xfrm>
              <a:off x="12479311" y="5259838"/>
              <a:ext cx="2588841" cy="447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 the chart, click on the right mouse button and choose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Edit data’</a:t>
              </a:r>
            </a:p>
          </p:txBody>
        </p:sp>
        <p:cxnSp>
          <p:nvCxnSpPr>
            <p:cNvPr id="166" name="Rechte verbindingslijn 165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67" name="Groep 166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171" name="Afgeronde rechthoek 170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2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/>
                  <a:t>Insert</a:t>
                </a:r>
              </a:p>
            </p:txBody>
          </p:sp>
          <p:cxnSp>
            <p:nvCxnSpPr>
              <p:cNvPr id="173" name="Rechte verbindingslijn 172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4" name="Gelijkbenige driehoek 173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168" name="Rechthoek 167"/>
            <p:cNvSpPr/>
            <p:nvPr/>
          </p:nvSpPr>
          <p:spPr>
            <a:xfrm>
              <a:off x="12483705" y="4856599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DIT CHART</a:t>
              </a:r>
            </a:p>
          </p:txBody>
        </p:sp>
        <p:cxnSp>
          <p:nvCxnSpPr>
            <p:cNvPr id="169" name="Rechte verbindingslijn 168"/>
            <p:cNvCxnSpPr/>
            <p:nvPr/>
          </p:nvCxnSpPr>
          <p:spPr>
            <a:xfrm>
              <a:off x="12487778" y="5145063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rgbClr val="3560AB"/>
              </a:solidFill>
              <a:prstDash val="solid"/>
            </a:ln>
            <a:effectLst/>
          </p:spPr>
        </p:cxnSp>
        <p:pic>
          <p:nvPicPr>
            <p:cNvPr id="170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54186" y="6395104"/>
              <a:ext cx="158644" cy="2564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28484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8641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+ Afbeelding (75%/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8" y="1092201"/>
            <a:ext cx="7742111" cy="4680000"/>
          </a:xfrm>
        </p:spPr>
        <p:txBody>
          <a:bodyPr vert="horz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8585200" y="1092201"/>
            <a:ext cx="3147874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GB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/>
              <a:t>Tekst +</a:t>
            </a:r>
            <a:r>
              <a:rPr lang="nl-NL" baseline="0"/>
              <a:t> Afbeelding (75%/25%)</a:t>
            </a:r>
            <a:endParaRPr lang="nl-NL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685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9360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en-GB" baseline="0" noProof="0"/>
              <a:t>Title slide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10125" y="2034552"/>
            <a:ext cx="6922949" cy="1548650"/>
          </a:xfrm>
        </p:spPr>
        <p:txBody>
          <a:bodyPr anchor="b"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Title of this presentation</a:t>
            </a:r>
          </a:p>
        </p:txBody>
      </p:sp>
      <p:sp>
        <p:nvSpPr>
          <p:cNvPr id="84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810125" y="3570263"/>
            <a:ext cx="6922800" cy="601738"/>
          </a:xfrm>
        </p:spPr>
        <p:txBody>
          <a:bodyPr vert="horz"/>
          <a:lstStyle>
            <a:lvl1pPr>
              <a:defRPr>
                <a:solidFill>
                  <a:srgbClr val="62646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Speaker | Place</a:t>
            </a:r>
          </a:p>
        </p:txBody>
      </p:sp>
      <p:sp>
        <p:nvSpPr>
          <p:cNvPr id="7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717114" y="44387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626465"/>
                </a:solidFill>
              </a:defRPr>
            </a:lvl1pPr>
          </a:lstStyle>
          <a:p>
            <a:fld id="{AF57A16A-E54C-4754-A845-14713139A620}" type="datetimeFigureOut">
              <a:rPr lang="en-GB" smtClean="0"/>
              <a:pPr/>
              <a:t>24/09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078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250"/>
                                  </p:stCondLst>
                                  <p:iterate type="lt">
                                    <p:tmPct val="8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3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grpId="0" nodeType="withEffect">
                                  <p:stCondLst>
                                    <p:cond delay="750"/>
                                  </p:stCondLst>
                                  <p:iterate type="lt">
                                    <p:tmPct val="8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3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4" grpId="0">
        <p:tmplLst>
          <p:tmpl>
            <p:tnLst>
              <p:par>
                <p:cTn presetID="22" presetClass="entr" presetSubtype="2" fill="hold" nodeType="withEffect">
                  <p:stCondLst>
                    <p:cond delay="750"/>
                  </p:stCondLst>
                  <p:iterate type="lt">
                    <p:tmPct val="8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right)">
                      <p:cBhvr>
                        <p:cTn dur="35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enter title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58927" y="1092201"/>
            <a:ext cx="11274147" cy="4680000"/>
          </a:xfrm>
        </p:spPr>
        <p:txBody>
          <a:bodyPr vert="horz"/>
          <a:lstStyle/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  <a:p>
            <a:pPr lvl="4"/>
            <a:r>
              <a:rPr lang="en-GB" noProof="0"/>
              <a:t>Third bullet level</a:t>
            </a:r>
          </a:p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© Copyright SIDN | 2016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First bullets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5194300" y="-520700"/>
            <a:ext cx="6997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/>
              <a:t>Title + Text (100%)</a:t>
            </a:r>
          </a:p>
        </p:txBody>
      </p:sp>
    </p:spTree>
    <p:extLst>
      <p:ext uri="{BB962C8B-B14F-4D97-AF65-F5344CB8AC3E}">
        <p14:creationId xmlns:p14="http://schemas.microsoft.com/office/powerpoint/2010/main" val="255371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75%/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enter title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58928" y="1092201"/>
            <a:ext cx="7742111" cy="4680000"/>
          </a:xfrm>
        </p:spPr>
        <p:txBody>
          <a:bodyPr vert="horz"/>
          <a:lstStyle/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  <a:p>
            <a:pPr lvl="4"/>
            <a:r>
              <a:rPr lang="en-GB" noProof="0"/>
              <a:t>Third bullet level</a:t>
            </a:r>
          </a:p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 hasCustomPrompt="1"/>
          </p:nvPr>
        </p:nvSpPr>
        <p:spPr>
          <a:xfrm>
            <a:off x="8585200" y="1092201"/>
            <a:ext cx="3147874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Photo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First bullets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/>
              <a:t>Text +</a:t>
            </a:r>
            <a:r>
              <a:rPr lang="nl-NL" baseline="0"/>
              <a:t> Photo (75%/25%)</a:t>
            </a:r>
            <a:endParaRPr lang="nl-NL"/>
          </a:p>
        </p:txBody>
      </p:sp>
      <p:grpSp>
        <p:nvGrpSpPr>
          <p:cNvPr id="110" name="Instruction Image Cropping"/>
          <p:cNvGrpSpPr/>
          <p:nvPr userDrawn="1"/>
        </p:nvGrpSpPr>
        <p:grpSpPr>
          <a:xfrm>
            <a:off x="12726410" y="21754"/>
            <a:ext cx="2733484" cy="6868888"/>
            <a:chOff x="12346582" y="-5444"/>
            <a:chExt cx="2733484" cy="6868888"/>
          </a:xfrm>
        </p:grpSpPr>
        <p:grpSp>
          <p:nvGrpSpPr>
            <p:cNvPr id="111" name="bijsnijden"/>
            <p:cNvGrpSpPr/>
            <p:nvPr userDrawn="1"/>
          </p:nvGrpSpPr>
          <p:grpSpPr>
            <a:xfrm>
              <a:off x="12346582" y="5717305"/>
              <a:ext cx="779464" cy="828260"/>
              <a:chOff x="13143038" y="5655940"/>
              <a:chExt cx="779464" cy="828260"/>
            </a:xfrm>
          </p:grpSpPr>
          <p:grpSp>
            <p:nvGrpSpPr>
              <p:cNvPr id="129" name="Groep 128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32" name="Rechthoek 131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133" name="Afbeelding 132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34" name="L-vorm 133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5" name="L-vorm 134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130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131" name="Rechthoekige driehoek 130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accent4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12" name="Rechthoek 111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accent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13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n image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4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image you want to use </a:t>
              </a:r>
              <a:b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5" name="Ovaal 114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16" name="Ovaal 115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117" name="Rechte verbindingslijn 116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18" name="Rechte verbindingslijn 117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19" name="Rechte verbindingslijn 118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pic>
          <p:nvPicPr>
            <p:cNvPr id="120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488780" y="1490583"/>
              <a:ext cx="521075" cy="521075"/>
            </a:xfrm>
            <a:prstGeom prst="rect">
              <a:avLst/>
            </a:prstGeom>
          </p:spPr>
        </p:pic>
        <p:sp>
          <p:nvSpPr>
            <p:cNvPr id="121" name="Tekstvak 33"/>
            <p:cNvSpPr txBox="1"/>
            <p:nvPr/>
          </p:nvSpPr>
          <p:spPr>
            <a:xfrm>
              <a:off x="12479311" y="5017802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Picture Tools’ </a:t>
              </a: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Crop’</a:t>
              </a:r>
              <a:endParaRPr lang="nl-NL" sz="1200" b="1" kern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2" name="Ovaal 121"/>
            <p:cNvSpPr/>
            <p:nvPr/>
          </p:nvSpPr>
          <p:spPr>
            <a:xfrm>
              <a:off x="12488779" y="4532940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123" name="Rechte verbindingslijn 122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24" name="Groep 123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125" name="Afgeronde rechthoek 124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6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/>
                  <a:t>Insert</a:t>
                </a:r>
              </a:p>
            </p:txBody>
          </p:sp>
          <p:cxnSp>
            <p:nvCxnSpPr>
              <p:cNvPr id="127" name="Rechte verbindingslijn 126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8" name="Gelijkbenige driehoek 127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95323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enter title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58929" y="1092201"/>
            <a:ext cx="5268770" cy="4680000"/>
          </a:xfrm>
        </p:spPr>
        <p:txBody>
          <a:bodyPr vert="horz"/>
          <a:lstStyle/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  <a:p>
            <a:pPr lvl="4"/>
            <a:r>
              <a:rPr lang="en-GB" noProof="0"/>
              <a:t>Third bullet level</a:t>
            </a:r>
          </a:p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 hasCustomPrompt="1"/>
          </p:nvPr>
        </p:nvSpPr>
        <p:spPr>
          <a:xfrm>
            <a:off x="6083300" y="1092201"/>
            <a:ext cx="5649774" cy="4680000"/>
          </a:xfrm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Photo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First bullets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/>
              <a:t>Text +</a:t>
            </a:r>
            <a:r>
              <a:rPr lang="nl-NL" baseline="0"/>
              <a:t> Photo (50%/50%)</a:t>
            </a:r>
            <a:endParaRPr lang="nl-NL"/>
          </a:p>
        </p:txBody>
      </p:sp>
      <p:grpSp>
        <p:nvGrpSpPr>
          <p:cNvPr id="136" name="Instruction Image Cropping"/>
          <p:cNvGrpSpPr/>
          <p:nvPr userDrawn="1"/>
        </p:nvGrpSpPr>
        <p:grpSpPr>
          <a:xfrm>
            <a:off x="12726410" y="21754"/>
            <a:ext cx="2733484" cy="6868888"/>
            <a:chOff x="12346582" y="-5444"/>
            <a:chExt cx="2733484" cy="6868888"/>
          </a:xfrm>
        </p:grpSpPr>
        <p:grpSp>
          <p:nvGrpSpPr>
            <p:cNvPr id="137" name="bijsnijden"/>
            <p:cNvGrpSpPr/>
            <p:nvPr userDrawn="1"/>
          </p:nvGrpSpPr>
          <p:grpSpPr>
            <a:xfrm>
              <a:off x="12346582" y="5717305"/>
              <a:ext cx="779464" cy="828260"/>
              <a:chOff x="13143038" y="5655940"/>
              <a:chExt cx="779464" cy="828260"/>
            </a:xfrm>
          </p:grpSpPr>
          <p:grpSp>
            <p:nvGrpSpPr>
              <p:cNvPr id="155" name="Groep 154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58" name="Rechthoek 157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159" name="Afbeelding 158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60" name="L-vorm 159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1" name="L-vorm 160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156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157" name="Rechthoekige driehoek 156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accent4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38" name="Rechthoek 13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accent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39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n image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0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image you want to use </a:t>
              </a:r>
              <a:b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1" name="Ovaal 140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42" name="Ovaal 141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143" name="Rechte verbindingslijn 142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44" name="Rechte verbindingslijn 143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45" name="Rechte verbindingslijn 144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pic>
          <p:nvPicPr>
            <p:cNvPr id="146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488780" y="1490583"/>
              <a:ext cx="521075" cy="521075"/>
            </a:xfrm>
            <a:prstGeom prst="rect">
              <a:avLst/>
            </a:prstGeom>
          </p:spPr>
        </p:pic>
        <p:sp>
          <p:nvSpPr>
            <p:cNvPr id="147" name="Tekstvak 33"/>
            <p:cNvSpPr txBox="1"/>
            <p:nvPr/>
          </p:nvSpPr>
          <p:spPr>
            <a:xfrm>
              <a:off x="12479311" y="5017802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Picture Tools’ </a:t>
              </a: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Crop’</a:t>
              </a:r>
              <a:endParaRPr lang="nl-NL" sz="1200" b="1" kern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8" name="Ovaal 147"/>
            <p:cNvSpPr/>
            <p:nvPr/>
          </p:nvSpPr>
          <p:spPr>
            <a:xfrm>
              <a:off x="12488779" y="4532940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149" name="Rechte verbindingslijn 148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50" name="Groep 149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151" name="Afgeronde rechthoek 150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2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/>
                  <a:t>Insert</a:t>
                </a:r>
              </a:p>
            </p:txBody>
          </p:sp>
          <p:cxnSp>
            <p:nvCxnSpPr>
              <p:cNvPr id="153" name="Rechte verbindingslijn 152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4" name="Gelijkbenige driehoek 153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93568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25%/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enter title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58929" y="1092201"/>
            <a:ext cx="2914706" cy="4680000"/>
          </a:xfrm>
        </p:spPr>
        <p:txBody>
          <a:bodyPr vert="horz"/>
          <a:lstStyle/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  <a:p>
            <a:pPr lvl="4"/>
            <a:r>
              <a:rPr lang="en-GB" noProof="0"/>
              <a:t>Third bullet level</a:t>
            </a:r>
          </a:p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 hasCustomPrompt="1"/>
          </p:nvPr>
        </p:nvSpPr>
        <p:spPr>
          <a:xfrm>
            <a:off x="3695700" y="1092201"/>
            <a:ext cx="8037374" cy="4680000"/>
          </a:xfrm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Photo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First bullets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/>
              <a:t>Text +</a:t>
            </a:r>
            <a:r>
              <a:rPr lang="nl-NL" baseline="0"/>
              <a:t> Photo (25%/75%)</a:t>
            </a:r>
            <a:endParaRPr lang="nl-NL"/>
          </a:p>
        </p:txBody>
      </p:sp>
      <p:grpSp>
        <p:nvGrpSpPr>
          <p:cNvPr id="110" name="Instruction Image Cropping"/>
          <p:cNvGrpSpPr/>
          <p:nvPr userDrawn="1"/>
        </p:nvGrpSpPr>
        <p:grpSpPr>
          <a:xfrm>
            <a:off x="12726410" y="21754"/>
            <a:ext cx="2733484" cy="6868888"/>
            <a:chOff x="12346582" y="-5444"/>
            <a:chExt cx="2733484" cy="6868888"/>
          </a:xfrm>
        </p:grpSpPr>
        <p:grpSp>
          <p:nvGrpSpPr>
            <p:cNvPr id="111" name="bijsnijden"/>
            <p:cNvGrpSpPr/>
            <p:nvPr userDrawn="1"/>
          </p:nvGrpSpPr>
          <p:grpSpPr>
            <a:xfrm>
              <a:off x="12346582" y="5717305"/>
              <a:ext cx="779464" cy="828260"/>
              <a:chOff x="13143038" y="5655940"/>
              <a:chExt cx="779464" cy="828260"/>
            </a:xfrm>
          </p:grpSpPr>
          <p:grpSp>
            <p:nvGrpSpPr>
              <p:cNvPr id="129" name="Groep 128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32" name="Rechthoek 131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133" name="Afbeelding 132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34" name="L-vorm 133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5" name="L-vorm 134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130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131" name="Rechthoekige driehoek 130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accent4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12" name="Rechthoek 111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accent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13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n image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4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image you want to use </a:t>
              </a:r>
              <a:b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5" name="Ovaal 114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16" name="Ovaal 115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117" name="Rechte verbindingslijn 116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18" name="Rechte verbindingslijn 117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19" name="Rechte verbindingslijn 118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pic>
          <p:nvPicPr>
            <p:cNvPr id="120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488780" y="1490583"/>
              <a:ext cx="521075" cy="521075"/>
            </a:xfrm>
            <a:prstGeom prst="rect">
              <a:avLst/>
            </a:prstGeom>
          </p:spPr>
        </p:pic>
        <p:sp>
          <p:nvSpPr>
            <p:cNvPr id="121" name="Tekstvak 33"/>
            <p:cNvSpPr txBox="1"/>
            <p:nvPr/>
          </p:nvSpPr>
          <p:spPr>
            <a:xfrm>
              <a:off x="12479311" y="5017802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Picture Tools’ </a:t>
              </a: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Crop’</a:t>
              </a:r>
              <a:endParaRPr lang="nl-NL" sz="1200" b="1" kern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2" name="Ovaal 121"/>
            <p:cNvSpPr/>
            <p:nvPr/>
          </p:nvSpPr>
          <p:spPr>
            <a:xfrm>
              <a:off x="12488779" y="4532940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123" name="Rechte verbindingslijn 122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24" name="Groep 123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125" name="Afgeronde rechthoek 124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6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/>
                  <a:t>Insert</a:t>
                </a:r>
              </a:p>
            </p:txBody>
          </p:sp>
          <p:cxnSp>
            <p:nvCxnSpPr>
              <p:cNvPr id="127" name="Rechte verbindingslijn 126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8" name="Gelijkbenige driehoek 127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034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 (25%/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enter title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987800" y="1092201"/>
            <a:ext cx="7745274" cy="4680000"/>
          </a:xfrm>
        </p:spPr>
        <p:txBody>
          <a:bodyPr vert="horz"/>
          <a:lstStyle/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  <a:p>
            <a:pPr lvl="4"/>
            <a:r>
              <a:rPr lang="en-GB" noProof="0"/>
              <a:t>Third bullet level</a:t>
            </a:r>
          </a:p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 hasCustomPrompt="1"/>
          </p:nvPr>
        </p:nvSpPr>
        <p:spPr>
          <a:xfrm>
            <a:off x="458927" y="1092201"/>
            <a:ext cx="3147874" cy="4680000"/>
          </a:xfrm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Photo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First bullets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/>
              <a:t>Photo + </a:t>
            </a:r>
            <a:r>
              <a:rPr lang="nl-NL"/>
              <a:t>Text</a:t>
            </a:r>
            <a:r>
              <a:rPr lang="nl-NL" baseline="0"/>
              <a:t> (25%/75%)</a:t>
            </a:r>
            <a:endParaRPr lang="nl-NL"/>
          </a:p>
        </p:txBody>
      </p:sp>
      <p:grpSp>
        <p:nvGrpSpPr>
          <p:cNvPr id="110" name="Instruction Image Cropping"/>
          <p:cNvGrpSpPr/>
          <p:nvPr userDrawn="1"/>
        </p:nvGrpSpPr>
        <p:grpSpPr>
          <a:xfrm>
            <a:off x="12726410" y="21754"/>
            <a:ext cx="2733484" cy="6868888"/>
            <a:chOff x="12346582" y="-5444"/>
            <a:chExt cx="2733484" cy="6868888"/>
          </a:xfrm>
        </p:grpSpPr>
        <p:grpSp>
          <p:nvGrpSpPr>
            <p:cNvPr id="111" name="bijsnijden"/>
            <p:cNvGrpSpPr/>
            <p:nvPr userDrawn="1"/>
          </p:nvGrpSpPr>
          <p:grpSpPr>
            <a:xfrm>
              <a:off x="12346582" y="5717305"/>
              <a:ext cx="779464" cy="828260"/>
              <a:chOff x="13143038" y="5655940"/>
              <a:chExt cx="779464" cy="828260"/>
            </a:xfrm>
          </p:grpSpPr>
          <p:grpSp>
            <p:nvGrpSpPr>
              <p:cNvPr id="129" name="Groep 128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32" name="Rechthoek 131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133" name="Afbeelding 132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34" name="L-vorm 133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5" name="L-vorm 134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130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131" name="Rechthoekige driehoek 130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accent4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12" name="Rechthoek 111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accent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13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n image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4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image you want to use </a:t>
              </a:r>
              <a:b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5" name="Ovaal 114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16" name="Ovaal 115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117" name="Rechte verbindingslijn 116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18" name="Rechte verbindingslijn 117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19" name="Rechte verbindingslijn 118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pic>
          <p:nvPicPr>
            <p:cNvPr id="120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488780" y="1490583"/>
              <a:ext cx="521075" cy="521075"/>
            </a:xfrm>
            <a:prstGeom prst="rect">
              <a:avLst/>
            </a:prstGeom>
          </p:spPr>
        </p:pic>
        <p:sp>
          <p:nvSpPr>
            <p:cNvPr id="121" name="Tekstvak 33"/>
            <p:cNvSpPr txBox="1"/>
            <p:nvPr/>
          </p:nvSpPr>
          <p:spPr>
            <a:xfrm>
              <a:off x="12479311" y="5017802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Picture Tools’ </a:t>
              </a: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Crop’</a:t>
              </a:r>
              <a:endParaRPr lang="nl-NL" sz="1200" b="1" kern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2" name="Ovaal 121"/>
            <p:cNvSpPr/>
            <p:nvPr/>
          </p:nvSpPr>
          <p:spPr>
            <a:xfrm>
              <a:off x="12488779" y="4532940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123" name="Rechte verbindingslijn 122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24" name="Groep 123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125" name="Afgeronde rechthoek 124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6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/>
                  <a:t>Insert</a:t>
                </a:r>
              </a:p>
            </p:txBody>
          </p:sp>
          <p:cxnSp>
            <p:nvCxnSpPr>
              <p:cNvPr id="127" name="Rechte verbindingslijn 126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8" name="Gelijkbenige driehoek 127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630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enter title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6451600" y="1092201"/>
            <a:ext cx="5281474" cy="4680000"/>
          </a:xfrm>
        </p:spPr>
        <p:txBody>
          <a:bodyPr vert="horz"/>
          <a:lstStyle/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  <a:p>
            <a:pPr lvl="4"/>
            <a:r>
              <a:rPr lang="en-GB" noProof="0"/>
              <a:t>Third bullet level</a:t>
            </a:r>
          </a:p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 hasCustomPrompt="1"/>
          </p:nvPr>
        </p:nvSpPr>
        <p:spPr>
          <a:xfrm>
            <a:off x="458927" y="1092201"/>
            <a:ext cx="5552610" cy="4680000"/>
          </a:xfrm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Photo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First bullets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/>
              <a:t>Photo + </a:t>
            </a:r>
            <a:r>
              <a:rPr lang="nl-NL"/>
              <a:t>Text</a:t>
            </a:r>
            <a:r>
              <a:rPr lang="nl-NL" baseline="0"/>
              <a:t> (50%/50%)</a:t>
            </a:r>
            <a:endParaRPr lang="nl-NL"/>
          </a:p>
        </p:txBody>
      </p:sp>
      <p:grpSp>
        <p:nvGrpSpPr>
          <p:cNvPr id="110" name="Instruction Image Cropping"/>
          <p:cNvGrpSpPr/>
          <p:nvPr userDrawn="1"/>
        </p:nvGrpSpPr>
        <p:grpSpPr>
          <a:xfrm>
            <a:off x="12726410" y="21754"/>
            <a:ext cx="2733484" cy="6868888"/>
            <a:chOff x="12346582" y="-5444"/>
            <a:chExt cx="2733484" cy="6868888"/>
          </a:xfrm>
        </p:grpSpPr>
        <p:grpSp>
          <p:nvGrpSpPr>
            <p:cNvPr id="111" name="bijsnijden"/>
            <p:cNvGrpSpPr/>
            <p:nvPr userDrawn="1"/>
          </p:nvGrpSpPr>
          <p:grpSpPr>
            <a:xfrm>
              <a:off x="12346582" y="5717305"/>
              <a:ext cx="779464" cy="828260"/>
              <a:chOff x="13143038" y="5655940"/>
              <a:chExt cx="779464" cy="828260"/>
            </a:xfrm>
          </p:grpSpPr>
          <p:grpSp>
            <p:nvGrpSpPr>
              <p:cNvPr id="129" name="Groep 128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32" name="Rechthoek 131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133" name="Afbeelding 132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34" name="L-vorm 133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5" name="L-vorm 134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130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131" name="Rechthoekige driehoek 130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accent4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12" name="Rechthoek 111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accent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13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n image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4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image you want to use </a:t>
              </a:r>
              <a:b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5" name="Ovaal 114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16" name="Ovaal 115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117" name="Rechte verbindingslijn 116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18" name="Rechte verbindingslijn 117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19" name="Rechte verbindingslijn 118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pic>
          <p:nvPicPr>
            <p:cNvPr id="120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488780" y="1490583"/>
              <a:ext cx="521075" cy="521075"/>
            </a:xfrm>
            <a:prstGeom prst="rect">
              <a:avLst/>
            </a:prstGeom>
          </p:spPr>
        </p:pic>
        <p:sp>
          <p:nvSpPr>
            <p:cNvPr id="121" name="Tekstvak 33"/>
            <p:cNvSpPr txBox="1"/>
            <p:nvPr/>
          </p:nvSpPr>
          <p:spPr>
            <a:xfrm>
              <a:off x="12479311" y="5017802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Picture Tools’ </a:t>
              </a: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Crop’</a:t>
              </a:r>
              <a:endParaRPr lang="nl-NL" sz="1200" b="1" kern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2" name="Ovaal 121"/>
            <p:cNvSpPr/>
            <p:nvPr/>
          </p:nvSpPr>
          <p:spPr>
            <a:xfrm>
              <a:off x="12488779" y="4532940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123" name="Rechte verbindingslijn 122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24" name="Groep 123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125" name="Afgeronde rechthoek 124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6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/>
                  <a:t>Insert</a:t>
                </a:r>
              </a:p>
            </p:txBody>
          </p:sp>
          <p:cxnSp>
            <p:nvCxnSpPr>
              <p:cNvPr id="127" name="Rechte verbindingslijn 126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8" name="Gelijkbenige driehoek 127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12372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 (75%/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enter title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8763000" y="1092201"/>
            <a:ext cx="2970074" cy="4680000"/>
          </a:xfrm>
        </p:spPr>
        <p:txBody>
          <a:bodyPr vert="horz"/>
          <a:lstStyle/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  <a:p>
            <a:pPr lvl="4"/>
            <a:r>
              <a:rPr lang="en-GB" noProof="0"/>
              <a:t>Third bullet level</a:t>
            </a:r>
          </a:p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 hasCustomPrompt="1"/>
          </p:nvPr>
        </p:nvSpPr>
        <p:spPr>
          <a:xfrm>
            <a:off x="458926" y="1092201"/>
            <a:ext cx="7921949" cy="4680000"/>
          </a:xfrm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Photo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First bullets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/>
              <a:t>Photo + </a:t>
            </a:r>
            <a:r>
              <a:rPr lang="nl-NL"/>
              <a:t>Text</a:t>
            </a:r>
            <a:r>
              <a:rPr lang="nl-NL" baseline="0"/>
              <a:t> (75%/25%)</a:t>
            </a:r>
            <a:endParaRPr lang="nl-NL"/>
          </a:p>
        </p:txBody>
      </p:sp>
      <p:grpSp>
        <p:nvGrpSpPr>
          <p:cNvPr id="110" name="Instruction Image Cropping"/>
          <p:cNvGrpSpPr/>
          <p:nvPr userDrawn="1"/>
        </p:nvGrpSpPr>
        <p:grpSpPr>
          <a:xfrm>
            <a:off x="12726410" y="21754"/>
            <a:ext cx="2733484" cy="6868888"/>
            <a:chOff x="12346582" y="-5444"/>
            <a:chExt cx="2733484" cy="6868888"/>
          </a:xfrm>
        </p:grpSpPr>
        <p:grpSp>
          <p:nvGrpSpPr>
            <p:cNvPr id="111" name="bijsnijden"/>
            <p:cNvGrpSpPr/>
            <p:nvPr userDrawn="1"/>
          </p:nvGrpSpPr>
          <p:grpSpPr>
            <a:xfrm>
              <a:off x="12346582" y="5717305"/>
              <a:ext cx="779464" cy="828260"/>
              <a:chOff x="13143038" y="5655940"/>
              <a:chExt cx="779464" cy="828260"/>
            </a:xfrm>
          </p:grpSpPr>
          <p:grpSp>
            <p:nvGrpSpPr>
              <p:cNvPr id="129" name="Groep 128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32" name="Rechthoek 131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133" name="Afbeelding 132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34" name="L-vorm 133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5" name="L-vorm 134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130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131" name="Rechthoekige driehoek 130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accent4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12" name="Rechthoek 111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accent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13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n image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4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image you want to use </a:t>
              </a:r>
              <a:b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5" name="Ovaal 114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16" name="Ovaal 115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117" name="Rechte verbindingslijn 116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18" name="Rechte verbindingslijn 117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119" name="Rechte verbindingslijn 118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pic>
          <p:nvPicPr>
            <p:cNvPr id="120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488780" y="1490583"/>
              <a:ext cx="521075" cy="521075"/>
            </a:xfrm>
            <a:prstGeom prst="rect">
              <a:avLst/>
            </a:prstGeom>
          </p:spPr>
        </p:pic>
        <p:sp>
          <p:nvSpPr>
            <p:cNvPr id="121" name="Tekstvak 33"/>
            <p:cNvSpPr txBox="1"/>
            <p:nvPr/>
          </p:nvSpPr>
          <p:spPr>
            <a:xfrm>
              <a:off x="12479311" y="5017802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Picture Tools’ </a:t>
              </a:r>
              <a:r>
                <a:rPr lang="en-US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Crop’</a:t>
              </a:r>
              <a:endParaRPr lang="nl-NL" sz="1200" b="1" kern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2" name="Ovaal 121"/>
            <p:cNvSpPr/>
            <p:nvPr/>
          </p:nvSpPr>
          <p:spPr>
            <a:xfrm>
              <a:off x="12488779" y="4532940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123" name="Rechte verbindingslijn 122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grpSp>
          <p:nvGrpSpPr>
            <p:cNvPr id="124" name="Groep 123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125" name="Afgeronde rechthoek 124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6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/>
                  <a:t>Insert</a:t>
                </a:r>
              </a:p>
            </p:txBody>
          </p:sp>
          <p:cxnSp>
            <p:nvCxnSpPr>
              <p:cNvPr id="127" name="Rechte verbindingslijn 126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8" name="Gelijkbenige driehoek 127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91712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1653494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  <a:prstGeom prst="rect">
            <a:avLst/>
          </a:prstGeom>
        </p:spPr>
        <p:txBody>
          <a:bodyPr vert="horz" lIns="0" tIns="108000" rIns="108000" bIns="108000" rtlCol="0" anchor="ctr">
            <a:noAutofit/>
          </a:bodyPr>
          <a:lstStyle/>
          <a:p>
            <a:r>
              <a:rPr lang="en-GB" noProof="0"/>
              <a:t>Click to enter 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8927" y="1092201"/>
            <a:ext cx="11274147" cy="4680000"/>
          </a:xfrm>
          <a:prstGeom prst="rect">
            <a:avLst/>
          </a:prstGeom>
        </p:spPr>
        <p:txBody>
          <a:bodyPr vert="horz" lIns="0" tIns="108000" rIns="108000" bIns="108000" rtlCol="0">
            <a:noAutofit/>
          </a:bodyPr>
          <a:lstStyle/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  <a:p>
            <a:pPr lvl="4"/>
            <a:r>
              <a:rPr lang="en-GB" noProof="0"/>
              <a:t>Third bullet level</a:t>
            </a:r>
          </a:p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58926" y="6214022"/>
            <a:ext cx="5268773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nl-NL" noProof="0"/>
              <a:t>© Copyright SIDN | 2016</a:t>
            </a:r>
          </a:p>
        </p:txBody>
      </p:sp>
      <p:grpSp>
        <p:nvGrpSpPr>
          <p:cNvPr id="7" name="logo labs">
            <a:extLst>
              <a:ext uri="{FF2B5EF4-FFF2-40B4-BE49-F238E27FC236}">
                <a16:creationId xmlns:a16="http://schemas.microsoft.com/office/drawing/2014/main" id="{2AFDBE64-DF0B-49DE-A069-FE491C74F1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520066" y="6030567"/>
            <a:ext cx="1213008" cy="605399"/>
            <a:chOff x="3431" y="4193"/>
            <a:chExt cx="1098" cy="548"/>
          </a:xfrm>
        </p:grpSpPr>
        <p:sp>
          <p:nvSpPr>
            <p:cNvPr id="8" name="Freeform 46">
              <a:extLst>
                <a:ext uri="{FF2B5EF4-FFF2-40B4-BE49-F238E27FC236}">
                  <a16:creationId xmlns:a16="http://schemas.microsoft.com/office/drawing/2014/main" id="{5686C2B0-24B9-4C30-8C88-96DD95452E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4" y="4196"/>
              <a:ext cx="133" cy="301"/>
            </a:xfrm>
            <a:custGeom>
              <a:avLst/>
              <a:gdLst>
                <a:gd name="T0" fmla="*/ 56 w 56"/>
                <a:gd name="T1" fmla="*/ 126 h 126"/>
                <a:gd name="T2" fmla="*/ 0 w 56"/>
                <a:gd name="T3" fmla="*/ 0 h 126"/>
                <a:gd name="T4" fmla="*/ 38 w 56"/>
                <a:gd name="T5" fmla="*/ 6 h 126"/>
                <a:gd name="T6" fmla="*/ 56 w 56"/>
                <a:gd name="T7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126">
                  <a:moveTo>
                    <a:pt x="56" y="126"/>
                  </a:moveTo>
                  <a:cubicBezTo>
                    <a:pt x="42" y="83"/>
                    <a:pt x="16" y="30"/>
                    <a:pt x="0" y="0"/>
                  </a:cubicBezTo>
                  <a:cubicBezTo>
                    <a:pt x="15" y="1"/>
                    <a:pt x="26" y="3"/>
                    <a:pt x="38" y="6"/>
                  </a:cubicBezTo>
                  <a:cubicBezTo>
                    <a:pt x="38" y="36"/>
                    <a:pt x="54" y="86"/>
                    <a:pt x="56" y="126"/>
                  </a:cubicBezTo>
                  <a:close/>
                </a:path>
              </a:pathLst>
            </a:custGeom>
            <a:solidFill>
              <a:srgbClr val="15B4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9" name="Freeform 47">
              <a:extLst>
                <a:ext uri="{FF2B5EF4-FFF2-40B4-BE49-F238E27FC236}">
                  <a16:creationId xmlns:a16="http://schemas.microsoft.com/office/drawing/2014/main" id="{E7098A4A-FD7E-4A74-8698-AF3356A625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1" y="4365"/>
              <a:ext cx="133" cy="201"/>
            </a:xfrm>
            <a:custGeom>
              <a:avLst/>
              <a:gdLst>
                <a:gd name="T0" fmla="*/ 0 w 56"/>
                <a:gd name="T1" fmla="*/ 80 h 84"/>
                <a:gd name="T2" fmla="*/ 0 w 56"/>
                <a:gd name="T3" fmla="*/ 62 h 84"/>
                <a:gd name="T4" fmla="*/ 22 w 56"/>
                <a:gd name="T5" fmla="*/ 67 h 84"/>
                <a:gd name="T6" fmla="*/ 35 w 56"/>
                <a:gd name="T7" fmla="*/ 60 h 84"/>
                <a:gd name="T8" fmla="*/ 16 w 56"/>
                <a:gd name="T9" fmla="*/ 48 h 84"/>
                <a:gd name="T10" fmla="*/ 0 w 56"/>
                <a:gd name="T11" fmla="*/ 24 h 84"/>
                <a:gd name="T12" fmla="*/ 30 w 56"/>
                <a:gd name="T13" fmla="*/ 0 h 84"/>
                <a:gd name="T14" fmla="*/ 51 w 56"/>
                <a:gd name="T15" fmla="*/ 3 h 84"/>
                <a:gd name="T16" fmla="*/ 51 w 56"/>
                <a:gd name="T17" fmla="*/ 21 h 84"/>
                <a:gd name="T18" fmla="*/ 32 w 56"/>
                <a:gd name="T19" fmla="*/ 16 h 84"/>
                <a:gd name="T20" fmla="*/ 21 w 56"/>
                <a:gd name="T21" fmla="*/ 23 h 84"/>
                <a:gd name="T22" fmla="*/ 33 w 56"/>
                <a:gd name="T23" fmla="*/ 33 h 84"/>
                <a:gd name="T24" fmla="*/ 56 w 56"/>
                <a:gd name="T25" fmla="*/ 59 h 84"/>
                <a:gd name="T26" fmla="*/ 26 w 56"/>
                <a:gd name="T27" fmla="*/ 84 h 84"/>
                <a:gd name="T28" fmla="*/ 0 w 56"/>
                <a:gd name="T29" fmla="*/ 8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6" h="84">
                  <a:moveTo>
                    <a:pt x="0" y="80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6" y="65"/>
                    <a:pt x="14" y="67"/>
                    <a:pt x="22" y="67"/>
                  </a:cubicBezTo>
                  <a:cubicBezTo>
                    <a:pt x="31" y="67"/>
                    <a:pt x="35" y="65"/>
                    <a:pt x="35" y="60"/>
                  </a:cubicBezTo>
                  <a:cubicBezTo>
                    <a:pt x="35" y="53"/>
                    <a:pt x="29" y="53"/>
                    <a:pt x="16" y="48"/>
                  </a:cubicBezTo>
                  <a:cubicBezTo>
                    <a:pt x="8" y="44"/>
                    <a:pt x="0" y="38"/>
                    <a:pt x="0" y="24"/>
                  </a:cubicBezTo>
                  <a:cubicBezTo>
                    <a:pt x="0" y="7"/>
                    <a:pt x="13" y="0"/>
                    <a:pt x="30" y="0"/>
                  </a:cubicBezTo>
                  <a:cubicBezTo>
                    <a:pt x="39" y="0"/>
                    <a:pt x="47" y="2"/>
                    <a:pt x="51" y="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47" y="19"/>
                    <a:pt x="39" y="16"/>
                    <a:pt x="32" y="16"/>
                  </a:cubicBezTo>
                  <a:cubicBezTo>
                    <a:pt x="24" y="16"/>
                    <a:pt x="21" y="19"/>
                    <a:pt x="21" y="23"/>
                  </a:cubicBezTo>
                  <a:cubicBezTo>
                    <a:pt x="21" y="28"/>
                    <a:pt x="25" y="30"/>
                    <a:pt x="33" y="33"/>
                  </a:cubicBezTo>
                  <a:cubicBezTo>
                    <a:pt x="45" y="37"/>
                    <a:pt x="56" y="42"/>
                    <a:pt x="56" y="59"/>
                  </a:cubicBezTo>
                  <a:cubicBezTo>
                    <a:pt x="56" y="76"/>
                    <a:pt x="43" y="84"/>
                    <a:pt x="26" y="84"/>
                  </a:cubicBezTo>
                  <a:cubicBezTo>
                    <a:pt x="15" y="84"/>
                    <a:pt x="7" y="82"/>
                    <a:pt x="0" y="80"/>
                  </a:cubicBez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0" name="Freeform 48">
              <a:extLst>
                <a:ext uri="{FF2B5EF4-FFF2-40B4-BE49-F238E27FC236}">
                  <a16:creationId xmlns:a16="http://schemas.microsoft.com/office/drawing/2014/main" id="{095465D8-380E-4438-8E8A-75D7C5D574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5" y="4246"/>
              <a:ext cx="301" cy="251"/>
            </a:xfrm>
            <a:custGeom>
              <a:avLst/>
              <a:gdLst>
                <a:gd name="T0" fmla="*/ 127 w 127"/>
                <a:gd name="T1" fmla="*/ 105 h 105"/>
                <a:gd name="T2" fmla="*/ 127 w 127"/>
                <a:gd name="T3" fmla="*/ 68 h 105"/>
                <a:gd name="T4" fmla="*/ 24 w 127"/>
                <a:gd name="T5" fmla="*/ 0 h 105"/>
                <a:gd name="T6" fmla="*/ 0 w 127"/>
                <a:gd name="T7" fmla="*/ 51 h 105"/>
                <a:gd name="T8" fmla="*/ 20 w 127"/>
                <a:gd name="T9" fmla="*/ 51 h 105"/>
                <a:gd name="T10" fmla="*/ 20 w 127"/>
                <a:gd name="T11" fmla="*/ 105 h 105"/>
                <a:gd name="T12" fmla="*/ 40 w 127"/>
                <a:gd name="T13" fmla="*/ 105 h 105"/>
                <a:gd name="T14" fmla="*/ 40 w 127"/>
                <a:gd name="T15" fmla="*/ 51 h 105"/>
                <a:gd name="T16" fmla="*/ 71 w 127"/>
                <a:gd name="T17" fmla="*/ 51 h 105"/>
                <a:gd name="T18" fmla="*/ 112 w 127"/>
                <a:gd name="T19" fmla="*/ 92 h 105"/>
                <a:gd name="T20" fmla="*/ 110 w 127"/>
                <a:gd name="T21" fmla="*/ 105 h 105"/>
                <a:gd name="T22" fmla="*/ 127 w 127"/>
                <a:gd name="T2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7" h="105">
                  <a:moveTo>
                    <a:pt x="127" y="105"/>
                  </a:moveTo>
                  <a:cubicBezTo>
                    <a:pt x="127" y="68"/>
                    <a:pt x="127" y="68"/>
                    <a:pt x="127" y="68"/>
                  </a:cubicBezTo>
                  <a:cubicBezTo>
                    <a:pt x="92" y="45"/>
                    <a:pt x="54" y="21"/>
                    <a:pt x="24" y="0"/>
                  </a:cubicBezTo>
                  <a:cubicBezTo>
                    <a:pt x="12" y="11"/>
                    <a:pt x="3" y="29"/>
                    <a:pt x="0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105"/>
                    <a:pt x="20" y="105"/>
                    <a:pt x="20" y="105"/>
                  </a:cubicBezTo>
                  <a:cubicBezTo>
                    <a:pt x="26" y="105"/>
                    <a:pt x="33" y="105"/>
                    <a:pt x="40" y="105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101" y="51"/>
                    <a:pt x="112" y="71"/>
                    <a:pt x="112" y="92"/>
                  </a:cubicBezTo>
                  <a:cubicBezTo>
                    <a:pt x="112" y="96"/>
                    <a:pt x="111" y="101"/>
                    <a:pt x="110" y="105"/>
                  </a:cubicBezTo>
                  <a:cubicBezTo>
                    <a:pt x="116" y="105"/>
                    <a:pt x="122" y="105"/>
                    <a:pt x="127" y="105"/>
                  </a:cubicBez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1" name="Freeform 49">
              <a:extLst>
                <a:ext uri="{FF2B5EF4-FFF2-40B4-BE49-F238E27FC236}">
                  <a16:creationId xmlns:a16="http://schemas.microsoft.com/office/drawing/2014/main" id="{1A4123A8-8A0B-4490-8063-FEAE30B2C8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5" y="4497"/>
              <a:ext cx="399" cy="215"/>
            </a:xfrm>
            <a:custGeom>
              <a:avLst/>
              <a:gdLst>
                <a:gd name="T0" fmla="*/ 161 w 168"/>
                <a:gd name="T1" fmla="*/ 0 h 90"/>
                <a:gd name="T2" fmla="*/ 145 w 168"/>
                <a:gd name="T3" fmla="*/ 0 h 90"/>
                <a:gd name="T4" fmla="*/ 145 w 168"/>
                <a:gd name="T5" fmla="*/ 28 h 90"/>
                <a:gd name="T6" fmla="*/ 127 w 168"/>
                <a:gd name="T7" fmla="*/ 28 h 90"/>
                <a:gd name="T8" fmla="*/ 127 w 168"/>
                <a:gd name="T9" fmla="*/ 0 h 90"/>
                <a:gd name="T10" fmla="*/ 110 w 168"/>
                <a:gd name="T11" fmla="*/ 0 h 90"/>
                <a:gd name="T12" fmla="*/ 70 w 168"/>
                <a:gd name="T13" fmla="*/ 28 h 90"/>
                <a:gd name="T14" fmla="*/ 40 w 168"/>
                <a:gd name="T15" fmla="*/ 28 h 90"/>
                <a:gd name="T16" fmla="*/ 40 w 168"/>
                <a:gd name="T17" fmla="*/ 0 h 90"/>
                <a:gd name="T18" fmla="*/ 20 w 168"/>
                <a:gd name="T19" fmla="*/ 0 h 90"/>
                <a:gd name="T20" fmla="*/ 20 w 168"/>
                <a:gd name="T21" fmla="*/ 28 h 90"/>
                <a:gd name="T22" fmla="*/ 0 w 168"/>
                <a:gd name="T23" fmla="*/ 28 h 90"/>
                <a:gd name="T24" fmla="*/ 46 w 168"/>
                <a:gd name="T25" fmla="*/ 90 h 90"/>
                <a:gd name="T26" fmla="*/ 168 w 168"/>
                <a:gd name="T27" fmla="*/ 13 h 90"/>
                <a:gd name="T28" fmla="*/ 161 w 168"/>
                <a:gd name="T2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8" h="90">
                  <a:moveTo>
                    <a:pt x="161" y="0"/>
                  </a:moveTo>
                  <a:cubicBezTo>
                    <a:pt x="156" y="0"/>
                    <a:pt x="151" y="0"/>
                    <a:pt x="145" y="0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27" y="28"/>
                    <a:pt x="127" y="28"/>
                    <a:pt x="127" y="28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2" y="0"/>
                    <a:pt x="116" y="0"/>
                    <a:pt x="110" y="0"/>
                  </a:cubicBezTo>
                  <a:cubicBezTo>
                    <a:pt x="106" y="15"/>
                    <a:pt x="94" y="28"/>
                    <a:pt x="7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3" y="0"/>
                    <a:pt x="26" y="0"/>
                    <a:pt x="20" y="0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4" y="59"/>
                    <a:pt x="17" y="81"/>
                    <a:pt x="46" y="90"/>
                  </a:cubicBezTo>
                  <a:cubicBezTo>
                    <a:pt x="84" y="63"/>
                    <a:pt x="132" y="42"/>
                    <a:pt x="168" y="13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E951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2" name="Freeform 50">
              <a:extLst>
                <a:ext uri="{FF2B5EF4-FFF2-40B4-BE49-F238E27FC236}">
                  <a16:creationId xmlns:a16="http://schemas.microsoft.com/office/drawing/2014/main" id="{8781D9A3-781B-4BFE-B102-0CEC6E00B0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4" y="4528"/>
              <a:ext cx="295" cy="203"/>
            </a:xfrm>
            <a:custGeom>
              <a:avLst/>
              <a:gdLst>
                <a:gd name="T0" fmla="*/ 122 w 124"/>
                <a:gd name="T1" fmla="*/ 0 h 85"/>
                <a:gd name="T2" fmla="*/ 0 w 124"/>
                <a:gd name="T3" fmla="*/ 77 h 85"/>
                <a:gd name="T4" fmla="*/ 34 w 124"/>
                <a:gd name="T5" fmla="*/ 85 h 85"/>
                <a:gd name="T6" fmla="*/ 124 w 124"/>
                <a:gd name="T7" fmla="*/ 3 h 85"/>
                <a:gd name="T8" fmla="*/ 122 w 124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85">
                  <a:moveTo>
                    <a:pt x="122" y="0"/>
                  </a:moveTo>
                  <a:cubicBezTo>
                    <a:pt x="86" y="29"/>
                    <a:pt x="38" y="50"/>
                    <a:pt x="0" y="77"/>
                  </a:cubicBezTo>
                  <a:cubicBezTo>
                    <a:pt x="10" y="81"/>
                    <a:pt x="21" y="83"/>
                    <a:pt x="34" y="85"/>
                  </a:cubicBezTo>
                  <a:cubicBezTo>
                    <a:pt x="62" y="60"/>
                    <a:pt x="98" y="36"/>
                    <a:pt x="124" y="3"/>
                  </a:cubicBezTo>
                  <a:lnTo>
                    <a:pt x="122" y="0"/>
                  </a:lnTo>
                  <a:close/>
                </a:path>
              </a:pathLst>
            </a:custGeom>
            <a:solidFill>
              <a:srgbClr val="E67D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3" name="Freeform 51">
              <a:extLst>
                <a:ext uri="{FF2B5EF4-FFF2-40B4-BE49-F238E27FC236}">
                  <a16:creationId xmlns:a16="http://schemas.microsoft.com/office/drawing/2014/main" id="{977DAC3E-46E7-4190-9358-46C547DCBF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5" y="4535"/>
              <a:ext cx="237" cy="206"/>
            </a:xfrm>
            <a:custGeom>
              <a:avLst/>
              <a:gdLst>
                <a:gd name="T0" fmla="*/ 100 w 100"/>
                <a:gd name="T1" fmla="*/ 12 h 86"/>
                <a:gd name="T2" fmla="*/ 98 w 100"/>
                <a:gd name="T3" fmla="*/ 12 h 86"/>
                <a:gd name="T4" fmla="*/ 90 w 100"/>
                <a:gd name="T5" fmla="*/ 0 h 86"/>
                <a:gd name="T6" fmla="*/ 0 w 100"/>
                <a:gd name="T7" fmla="*/ 82 h 86"/>
                <a:gd name="T8" fmla="*/ 92 w 100"/>
                <a:gd name="T9" fmla="*/ 76 h 86"/>
                <a:gd name="T10" fmla="*/ 100 w 100"/>
                <a:gd name="T11" fmla="*/ 1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86">
                  <a:moveTo>
                    <a:pt x="100" y="12"/>
                  </a:moveTo>
                  <a:cubicBezTo>
                    <a:pt x="98" y="12"/>
                    <a:pt x="98" y="12"/>
                    <a:pt x="98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64" y="33"/>
                    <a:pt x="28" y="57"/>
                    <a:pt x="0" y="82"/>
                  </a:cubicBezTo>
                  <a:cubicBezTo>
                    <a:pt x="33" y="86"/>
                    <a:pt x="66" y="86"/>
                    <a:pt x="92" y="76"/>
                  </a:cubicBezTo>
                  <a:cubicBezTo>
                    <a:pt x="90" y="55"/>
                    <a:pt x="96" y="36"/>
                    <a:pt x="100" y="12"/>
                  </a:cubicBezTo>
                  <a:close/>
                </a:path>
              </a:pathLst>
            </a:custGeom>
            <a:solidFill>
              <a:srgbClr val="6823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" name="Freeform 52">
              <a:extLst>
                <a:ext uri="{FF2B5EF4-FFF2-40B4-BE49-F238E27FC236}">
                  <a16:creationId xmlns:a16="http://schemas.microsoft.com/office/drawing/2014/main" id="{13F8BE3E-2B83-4DF9-AAC3-0BEE07AB3D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09" y="4564"/>
              <a:ext cx="80" cy="153"/>
            </a:xfrm>
            <a:custGeom>
              <a:avLst/>
              <a:gdLst>
                <a:gd name="T0" fmla="*/ 21 w 34"/>
                <a:gd name="T1" fmla="*/ 0 h 64"/>
                <a:gd name="T2" fmla="*/ 10 w 34"/>
                <a:gd name="T3" fmla="*/ 0 h 64"/>
                <a:gd name="T4" fmla="*/ 2 w 34"/>
                <a:gd name="T5" fmla="*/ 64 h 64"/>
                <a:gd name="T6" fmla="*/ 34 w 34"/>
                <a:gd name="T7" fmla="*/ 41 h 64"/>
                <a:gd name="T8" fmla="*/ 21 w 34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64">
                  <a:moveTo>
                    <a:pt x="21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6" y="24"/>
                    <a:pt x="0" y="43"/>
                    <a:pt x="2" y="64"/>
                  </a:cubicBezTo>
                  <a:cubicBezTo>
                    <a:pt x="17" y="59"/>
                    <a:pt x="26" y="53"/>
                    <a:pt x="34" y="41"/>
                  </a:cubicBezTo>
                  <a:cubicBezTo>
                    <a:pt x="26" y="26"/>
                    <a:pt x="24" y="13"/>
                    <a:pt x="21" y="0"/>
                  </a:cubicBezTo>
                  <a:close/>
                </a:path>
              </a:pathLst>
            </a:custGeom>
            <a:solidFill>
              <a:srgbClr val="2BA9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" name="Freeform 53">
              <a:extLst>
                <a:ext uri="{FF2B5EF4-FFF2-40B4-BE49-F238E27FC236}">
                  <a16:creationId xmlns:a16="http://schemas.microsoft.com/office/drawing/2014/main" id="{4FE418D4-054E-4636-9188-04CED45070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" y="4557"/>
              <a:ext cx="58" cy="105"/>
            </a:xfrm>
            <a:custGeom>
              <a:avLst/>
              <a:gdLst>
                <a:gd name="T0" fmla="*/ 9 w 24"/>
                <a:gd name="T1" fmla="*/ 0 h 44"/>
                <a:gd name="T2" fmla="*/ 9 w 24"/>
                <a:gd name="T3" fmla="*/ 3 h 44"/>
                <a:gd name="T4" fmla="*/ 0 w 24"/>
                <a:gd name="T5" fmla="*/ 3 h 44"/>
                <a:gd name="T6" fmla="*/ 13 w 24"/>
                <a:gd name="T7" fmla="*/ 44 h 44"/>
                <a:gd name="T8" fmla="*/ 24 w 24"/>
                <a:gd name="T9" fmla="*/ 22 h 44"/>
                <a:gd name="T10" fmla="*/ 9 w 24"/>
                <a:gd name="T1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44">
                  <a:moveTo>
                    <a:pt x="9" y="0"/>
                  </a:moveTo>
                  <a:cubicBezTo>
                    <a:pt x="9" y="3"/>
                    <a:pt x="9" y="3"/>
                    <a:pt x="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16"/>
                    <a:pt x="5" y="29"/>
                    <a:pt x="13" y="44"/>
                  </a:cubicBezTo>
                  <a:cubicBezTo>
                    <a:pt x="17" y="38"/>
                    <a:pt x="21" y="30"/>
                    <a:pt x="24" y="22"/>
                  </a:cubicBezTo>
                  <a:cubicBezTo>
                    <a:pt x="17" y="13"/>
                    <a:pt x="13" y="6"/>
                    <a:pt x="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" name="Freeform 54">
              <a:extLst>
                <a:ext uri="{FF2B5EF4-FFF2-40B4-BE49-F238E27FC236}">
                  <a16:creationId xmlns:a16="http://schemas.microsoft.com/office/drawing/2014/main" id="{CF061F12-87F8-4ADD-9D24-40F40FCA1A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80" y="4423"/>
              <a:ext cx="57" cy="186"/>
            </a:xfrm>
            <a:custGeom>
              <a:avLst/>
              <a:gdLst>
                <a:gd name="T0" fmla="*/ 23 w 24"/>
                <a:gd name="T1" fmla="*/ 0 h 78"/>
                <a:gd name="T2" fmla="*/ 0 w 24"/>
                <a:gd name="T3" fmla="*/ 21 h 78"/>
                <a:gd name="T4" fmla="*/ 0 w 24"/>
                <a:gd name="T5" fmla="*/ 56 h 78"/>
                <a:gd name="T6" fmla="*/ 15 w 24"/>
                <a:gd name="T7" fmla="*/ 78 h 78"/>
                <a:gd name="T8" fmla="*/ 23 w 24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78">
                  <a:moveTo>
                    <a:pt x="23" y="0"/>
                  </a:moveTo>
                  <a:cubicBezTo>
                    <a:pt x="13" y="5"/>
                    <a:pt x="8" y="13"/>
                    <a:pt x="0" y="21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4" y="62"/>
                    <a:pt x="8" y="69"/>
                    <a:pt x="15" y="78"/>
                  </a:cubicBezTo>
                  <a:cubicBezTo>
                    <a:pt x="22" y="55"/>
                    <a:pt x="24" y="29"/>
                    <a:pt x="23" y="0"/>
                  </a:cubicBezTo>
                  <a:close/>
                </a:path>
              </a:pathLst>
            </a:custGeom>
            <a:solidFill>
              <a:srgbClr val="0790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" name="Freeform 55">
              <a:extLst>
                <a:ext uri="{FF2B5EF4-FFF2-40B4-BE49-F238E27FC236}">
                  <a16:creationId xmlns:a16="http://schemas.microsoft.com/office/drawing/2014/main" id="{8DBE5939-4D14-42A0-AFBA-D084B47488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80" y="4396"/>
              <a:ext cx="55" cy="77"/>
            </a:xfrm>
            <a:custGeom>
              <a:avLst/>
              <a:gdLst>
                <a:gd name="T0" fmla="*/ 22 w 23"/>
                <a:gd name="T1" fmla="*/ 0 h 32"/>
                <a:gd name="T2" fmla="*/ 0 w 23"/>
                <a:gd name="T3" fmla="*/ 27 h 32"/>
                <a:gd name="T4" fmla="*/ 0 w 23"/>
                <a:gd name="T5" fmla="*/ 32 h 32"/>
                <a:gd name="T6" fmla="*/ 23 w 23"/>
                <a:gd name="T7" fmla="*/ 11 h 32"/>
                <a:gd name="T8" fmla="*/ 22 w 23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2">
                  <a:moveTo>
                    <a:pt x="22" y="0"/>
                  </a:moveTo>
                  <a:cubicBezTo>
                    <a:pt x="13" y="7"/>
                    <a:pt x="7" y="17"/>
                    <a:pt x="0" y="2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8" y="24"/>
                    <a:pt x="13" y="16"/>
                    <a:pt x="23" y="11"/>
                  </a:cubicBezTo>
                  <a:cubicBezTo>
                    <a:pt x="23" y="7"/>
                    <a:pt x="23" y="4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8" name="Freeform 56">
              <a:extLst>
                <a:ext uri="{FF2B5EF4-FFF2-40B4-BE49-F238E27FC236}">
                  <a16:creationId xmlns:a16="http://schemas.microsoft.com/office/drawing/2014/main" id="{EA1E986C-520E-4C63-A390-00AA6210DA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80" y="4349"/>
              <a:ext cx="52" cy="112"/>
            </a:xfrm>
            <a:custGeom>
              <a:avLst/>
              <a:gdLst>
                <a:gd name="T0" fmla="*/ 19 w 22"/>
                <a:gd name="T1" fmla="*/ 0 h 47"/>
                <a:gd name="T2" fmla="*/ 0 w 22"/>
                <a:gd name="T3" fmla="*/ 35 h 47"/>
                <a:gd name="T4" fmla="*/ 0 w 22"/>
                <a:gd name="T5" fmla="*/ 47 h 47"/>
                <a:gd name="T6" fmla="*/ 22 w 22"/>
                <a:gd name="T7" fmla="*/ 20 h 47"/>
                <a:gd name="T8" fmla="*/ 19 w 22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7">
                  <a:moveTo>
                    <a:pt x="19" y="0"/>
                  </a:moveTo>
                  <a:cubicBezTo>
                    <a:pt x="10" y="10"/>
                    <a:pt x="6" y="23"/>
                    <a:pt x="0" y="35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7" y="37"/>
                    <a:pt x="13" y="27"/>
                    <a:pt x="22" y="20"/>
                  </a:cubicBezTo>
                  <a:cubicBezTo>
                    <a:pt x="22" y="13"/>
                    <a:pt x="21" y="6"/>
                    <a:pt x="19" y="0"/>
                  </a:cubicBezTo>
                  <a:close/>
                </a:path>
              </a:pathLst>
            </a:custGeom>
            <a:solidFill>
              <a:srgbClr val="E951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9" name="Freeform 57">
              <a:extLst>
                <a:ext uri="{FF2B5EF4-FFF2-40B4-BE49-F238E27FC236}">
                  <a16:creationId xmlns:a16="http://schemas.microsoft.com/office/drawing/2014/main" id="{F605DC94-B180-429E-923C-AC6399868D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" y="4260"/>
              <a:ext cx="67" cy="172"/>
            </a:xfrm>
            <a:custGeom>
              <a:avLst/>
              <a:gdLst>
                <a:gd name="T0" fmla="*/ 9 w 28"/>
                <a:gd name="T1" fmla="*/ 72 h 72"/>
                <a:gd name="T2" fmla="*/ 28 w 28"/>
                <a:gd name="T3" fmla="*/ 37 h 72"/>
                <a:gd name="T4" fmla="*/ 28 w 28"/>
                <a:gd name="T5" fmla="*/ 35 h 72"/>
                <a:gd name="T6" fmla="*/ 11 w 28"/>
                <a:gd name="T7" fmla="*/ 0 h 72"/>
                <a:gd name="T8" fmla="*/ 0 w 28"/>
                <a:gd name="T9" fmla="*/ 45 h 72"/>
                <a:gd name="T10" fmla="*/ 9 w 28"/>
                <a:gd name="T11" fmla="*/ 45 h 72"/>
                <a:gd name="T12" fmla="*/ 9 w 28"/>
                <a:gd name="T13" fmla="*/ 70 h 72"/>
                <a:gd name="T14" fmla="*/ 9 w 28"/>
                <a:gd name="T1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72">
                  <a:moveTo>
                    <a:pt x="9" y="72"/>
                  </a:moveTo>
                  <a:cubicBezTo>
                    <a:pt x="15" y="60"/>
                    <a:pt x="19" y="47"/>
                    <a:pt x="28" y="37"/>
                  </a:cubicBezTo>
                  <a:cubicBezTo>
                    <a:pt x="28" y="36"/>
                    <a:pt x="28" y="36"/>
                    <a:pt x="28" y="35"/>
                  </a:cubicBezTo>
                  <a:cubicBezTo>
                    <a:pt x="24" y="20"/>
                    <a:pt x="19" y="9"/>
                    <a:pt x="11" y="0"/>
                  </a:cubicBezTo>
                  <a:cubicBezTo>
                    <a:pt x="5" y="13"/>
                    <a:pt x="2" y="29"/>
                    <a:pt x="0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70"/>
                    <a:pt x="9" y="70"/>
                    <a:pt x="9" y="70"/>
                  </a:cubicBezTo>
                  <a:lnTo>
                    <a:pt x="9" y="72"/>
                  </a:lnTo>
                  <a:close/>
                </a:path>
              </a:pathLst>
            </a:custGeom>
            <a:solidFill>
              <a:srgbClr val="0C2C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0" name="Freeform 58">
              <a:extLst>
                <a:ext uri="{FF2B5EF4-FFF2-40B4-BE49-F238E27FC236}">
                  <a16:creationId xmlns:a16="http://schemas.microsoft.com/office/drawing/2014/main" id="{4631C215-44AF-46CD-AF6C-0693362DD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2" y="4236"/>
              <a:ext cx="43" cy="132"/>
            </a:xfrm>
            <a:custGeom>
              <a:avLst/>
              <a:gdLst>
                <a:gd name="T0" fmla="*/ 7 w 18"/>
                <a:gd name="T1" fmla="*/ 55 h 55"/>
                <a:gd name="T2" fmla="*/ 18 w 18"/>
                <a:gd name="T3" fmla="*/ 10 h 55"/>
                <a:gd name="T4" fmla="*/ 6 w 18"/>
                <a:gd name="T5" fmla="*/ 0 h 55"/>
                <a:gd name="T6" fmla="*/ 0 w 18"/>
                <a:gd name="T7" fmla="*/ 55 h 55"/>
                <a:gd name="T8" fmla="*/ 7 w 18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55">
                  <a:moveTo>
                    <a:pt x="7" y="55"/>
                  </a:moveTo>
                  <a:cubicBezTo>
                    <a:pt x="9" y="39"/>
                    <a:pt x="12" y="23"/>
                    <a:pt x="18" y="10"/>
                  </a:cubicBezTo>
                  <a:cubicBezTo>
                    <a:pt x="14" y="6"/>
                    <a:pt x="10" y="3"/>
                    <a:pt x="6" y="0"/>
                  </a:cubicBezTo>
                  <a:cubicBezTo>
                    <a:pt x="1" y="15"/>
                    <a:pt x="0" y="35"/>
                    <a:pt x="0" y="55"/>
                  </a:cubicBezTo>
                  <a:lnTo>
                    <a:pt x="7" y="55"/>
                  </a:lnTo>
                  <a:close/>
                </a:path>
              </a:pathLst>
            </a:custGeom>
            <a:solidFill>
              <a:srgbClr val="4DB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1" name="Freeform 59">
              <a:extLst>
                <a:ext uri="{FF2B5EF4-FFF2-40B4-BE49-F238E27FC236}">
                  <a16:creationId xmlns:a16="http://schemas.microsoft.com/office/drawing/2014/main" id="{C7D4C821-D4D2-4CAC-8481-7455E53FCE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35" y="4229"/>
              <a:ext cx="12" cy="139"/>
            </a:xfrm>
            <a:custGeom>
              <a:avLst/>
              <a:gdLst>
                <a:gd name="T0" fmla="*/ 2 w 5"/>
                <a:gd name="T1" fmla="*/ 58 h 58"/>
                <a:gd name="T2" fmla="*/ 5 w 5"/>
                <a:gd name="T3" fmla="*/ 1 h 58"/>
                <a:gd name="T4" fmla="*/ 4 w 5"/>
                <a:gd name="T5" fmla="*/ 0 h 58"/>
                <a:gd name="T6" fmla="*/ 1 w 5"/>
                <a:gd name="T7" fmla="*/ 58 h 58"/>
                <a:gd name="T8" fmla="*/ 2 w 5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8">
                  <a:moveTo>
                    <a:pt x="2" y="58"/>
                  </a:moveTo>
                  <a:cubicBezTo>
                    <a:pt x="1" y="37"/>
                    <a:pt x="1" y="16"/>
                    <a:pt x="5" y="1"/>
                  </a:cubicBezTo>
                  <a:cubicBezTo>
                    <a:pt x="4" y="0"/>
                    <a:pt x="5" y="1"/>
                    <a:pt x="4" y="0"/>
                  </a:cubicBezTo>
                  <a:cubicBezTo>
                    <a:pt x="0" y="16"/>
                    <a:pt x="0" y="36"/>
                    <a:pt x="1" y="58"/>
                  </a:cubicBezTo>
                  <a:lnTo>
                    <a:pt x="2" y="58"/>
                  </a:lnTo>
                  <a:close/>
                </a:path>
              </a:pathLst>
            </a:custGeom>
            <a:solidFill>
              <a:srgbClr val="0C2C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2" name="Freeform 60">
              <a:extLst>
                <a:ext uri="{FF2B5EF4-FFF2-40B4-BE49-F238E27FC236}">
                  <a16:creationId xmlns:a16="http://schemas.microsoft.com/office/drawing/2014/main" id="{BF513461-882C-4F53-9C97-05AB82DC3C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4222"/>
              <a:ext cx="26" cy="220"/>
            </a:xfrm>
            <a:custGeom>
              <a:avLst/>
              <a:gdLst>
                <a:gd name="T0" fmla="*/ 8 w 11"/>
                <a:gd name="T1" fmla="*/ 61 h 92"/>
                <a:gd name="T2" fmla="*/ 8 w 11"/>
                <a:gd name="T3" fmla="*/ 61 h 92"/>
                <a:gd name="T4" fmla="*/ 11 w 11"/>
                <a:gd name="T5" fmla="*/ 3 h 92"/>
                <a:gd name="T6" fmla="*/ 4 w 11"/>
                <a:gd name="T7" fmla="*/ 0 h 92"/>
                <a:gd name="T8" fmla="*/ 8 w 11"/>
                <a:gd name="T9" fmla="*/ 92 h 92"/>
                <a:gd name="T10" fmla="*/ 8 w 11"/>
                <a:gd name="T11" fmla="*/ 6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92">
                  <a:moveTo>
                    <a:pt x="8" y="61"/>
                  </a:moveTo>
                  <a:cubicBezTo>
                    <a:pt x="8" y="61"/>
                    <a:pt x="8" y="61"/>
                    <a:pt x="8" y="61"/>
                  </a:cubicBezTo>
                  <a:cubicBezTo>
                    <a:pt x="7" y="39"/>
                    <a:pt x="7" y="19"/>
                    <a:pt x="11" y="3"/>
                  </a:cubicBezTo>
                  <a:cubicBezTo>
                    <a:pt x="9" y="2"/>
                    <a:pt x="6" y="1"/>
                    <a:pt x="4" y="0"/>
                  </a:cubicBezTo>
                  <a:cubicBezTo>
                    <a:pt x="0" y="23"/>
                    <a:pt x="6" y="59"/>
                    <a:pt x="8" y="92"/>
                  </a:cubicBezTo>
                  <a:lnTo>
                    <a:pt x="8" y="61"/>
                  </a:lnTo>
                  <a:close/>
                </a:path>
              </a:pathLst>
            </a:custGeom>
            <a:solidFill>
              <a:srgbClr val="4DB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3" name="Freeform 61">
              <a:extLst>
                <a:ext uri="{FF2B5EF4-FFF2-40B4-BE49-F238E27FC236}">
                  <a16:creationId xmlns:a16="http://schemas.microsoft.com/office/drawing/2014/main" id="{F886378A-158E-42AC-B089-023A6FBB00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94" y="4210"/>
              <a:ext cx="43" cy="287"/>
            </a:xfrm>
            <a:custGeom>
              <a:avLst/>
              <a:gdLst>
                <a:gd name="T0" fmla="*/ 18 w 18"/>
                <a:gd name="T1" fmla="*/ 108 h 120"/>
                <a:gd name="T2" fmla="*/ 18 w 18"/>
                <a:gd name="T3" fmla="*/ 97 h 120"/>
                <a:gd name="T4" fmla="*/ 14 w 18"/>
                <a:gd name="T5" fmla="*/ 5 h 120"/>
                <a:gd name="T6" fmla="*/ 0 w 18"/>
                <a:gd name="T7" fmla="*/ 0 h 120"/>
                <a:gd name="T8" fmla="*/ 18 w 18"/>
                <a:gd name="T9" fmla="*/ 120 h 120"/>
                <a:gd name="T10" fmla="*/ 18 w 18"/>
                <a:gd name="T11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0">
                  <a:moveTo>
                    <a:pt x="18" y="108"/>
                  </a:moveTo>
                  <a:cubicBezTo>
                    <a:pt x="18" y="97"/>
                    <a:pt x="18" y="97"/>
                    <a:pt x="18" y="97"/>
                  </a:cubicBezTo>
                  <a:cubicBezTo>
                    <a:pt x="16" y="64"/>
                    <a:pt x="10" y="28"/>
                    <a:pt x="14" y="5"/>
                  </a:cubicBezTo>
                  <a:cubicBezTo>
                    <a:pt x="9" y="3"/>
                    <a:pt x="5" y="2"/>
                    <a:pt x="0" y="0"/>
                  </a:cubicBezTo>
                  <a:cubicBezTo>
                    <a:pt x="0" y="30"/>
                    <a:pt x="16" y="80"/>
                    <a:pt x="18" y="120"/>
                  </a:cubicBezTo>
                  <a:cubicBezTo>
                    <a:pt x="18" y="117"/>
                    <a:pt x="18" y="111"/>
                    <a:pt x="18" y="108"/>
                  </a:cubicBez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4" name="Freeform 62">
              <a:extLst>
                <a:ext uri="{FF2B5EF4-FFF2-40B4-BE49-F238E27FC236}">
                  <a16:creationId xmlns:a16="http://schemas.microsoft.com/office/drawing/2014/main" id="{33C15C92-295A-4747-A37F-E57A7808A1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35" y="4193"/>
              <a:ext cx="202" cy="304"/>
            </a:xfrm>
            <a:custGeom>
              <a:avLst/>
              <a:gdLst>
                <a:gd name="T0" fmla="*/ 85 w 85"/>
                <a:gd name="T1" fmla="*/ 127 h 127"/>
                <a:gd name="T2" fmla="*/ 29 w 85"/>
                <a:gd name="T3" fmla="*/ 1 h 127"/>
                <a:gd name="T4" fmla="*/ 0 w 85"/>
                <a:gd name="T5" fmla="*/ 1 h 127"/>
                <a:gd name="T6" fmla="*/ 81 w 85"/>
                <a:gd name="T7" fmla="*/ 121 h 127"/>
                <a:gd name="T8" fmla="*/ 85 w 85"/>
                <a:gd name="T9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27">
                  <a:moveTo>
                    <a:pt x="85" y="127"/>
                  </a:moveTo>
                  <a:cubicBezTo>
                    <a:pt x="71" y="84"/>
                    <a:pt x="45" y="31"/>
                    <a:pt x="29" y="1"/>
                  </a:cubicBezTo>
                  <a:cubicBezTo>
                    <a:pt x="19" y="1"/>
                    <a:pt x="10" y="0"/>
                    <a:pt x="0" y="1"/>
                  </a:cubicBezTo>
                  <a:cubicBezTo>
                    <a:pt x="26" y="30"/>
                    <a:pt x="60" y="78"/>
                    <a:pt x="81" y="121"/>
                  </a:cubicBezTo>
                  <a:cubicBezTo>
                    <a:pt x="83" y="123"/>
                    <a:pt x="84" y="126"/>
                    <a:pt x="85" y="127"/>
                  </a:cubicBezTo>
                  <a:close/>
                </a:path>
              </a:pathLst>
            </a:custGeom>
            <a:solidFill>
              <a:srgbClr val="E67D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5" name="Freeform 63">
              <a:extLst>
                <a:ext uri="{FF2B5EF4-FFF2-40B4-BE49-F238E27FC236}">
                  <a16:creationId xmlns:a16="http://schemas.microsoft.com/office/drawing/2014/main" id="{354A4C89-2A6F-4DA3-8EB1-5433BA8DC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26" y="4196"/>
              <a:ext cx="202" cy="287"/>
            </a:xfrm>
            <a:custGeom>
              <a:avLst/>
              <a:gdLst>
                <a:gd name="T0" fmla="*/ 4 w 85"/>
                <a:gd name="T1" fmla="*/ 0 h 120"/>
                <a:gd name="T2" fmla="*/ 0 w 85"/>
                <a:gd name="T3" fmla="*/ 0 h 120"/>
                <a:gd name="T4" fmla="*/ 56 w 85"/>
                <a:gd name="T5" fmla="*/ 72 h 120"/>
                <a:gd name="T6" fmla="*/ 56 w 85"/>
                <a:gd name="T7" fmla="*/ 72 h 120"/>
                <a:gd name="T8" fmla="*/ 61 w 85"/>
                <a:gd name="T9" fmla="*/ 81 h 120"/>
                <a:gd name="T10" fmla="*/ 61 w 85"/>
                <a:gd name="T11" fmla="*/ 81 h 120"/>
                <a:gd name="T12" fmla="*/ 79 w 85"/>
                <a:gd name="T13" fmla="*/ 109 h 120"/>
                <a:gd name="T14" fmla="*/ 79 w 85"/>
                <a:gd name="T15" fmla="*/ 109 h 120"/>
                <a:gd name="T16" fmla="*/ 82 w 85"/>
                <a:gd name="T17" fmla="*/ 113 h 120"/>
                <a:gd name="T18" fmla="*/ 85 w 85"/>
                <a:gd name="T19" fmla="*/ 120 h 120"/>
                <a:gd name="T20" fmla="*/ 4 w 85"/>
                <a:gd name="T2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120">
                  <a:moveTo>
                    <a:pt x="4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17" y="19"/>
                    <a:pt x="37" y="45"/>
                    <a:pt x="56" y="72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79" y="109"/>
                    <a:pt x="79" y="109"/>
                    <a:pt x="79" y="109"/>
                  </a:cubicBezTo>
                  <a:cubicBezTo>
                    <a:pt x="79" y="109"/>
                    <a:pt x="79" y="109"/>
                    <a:pt x="79" y="109"/>
                  </a:cubicBezTo>
                  <a:cubicBezTo>
                    <a:pt x="82" y="113"/>
                    <a:pt x="82" y="113"/>
                    <a:pt x="82" y="113"/>
                  </a:cubicBezTo>
                  <a:cubicBezTo>
                    <a:pt x="83" y="115"/>
                    <a:pt x="84" y="117"/>
                    <a:pt x="85" y="120"/>
                  </a:cubicBezTo>
                  <a:cubicBezTo>
                    <a:pt x="64" y="77"/>
                    <a:pt x="30" y="29"/>
                    <a:pt x="4" y="0"/>
                  </a:cubicBezTo>
                  <a:close/>
                </a:path>
              </a:pathLst>
            </a:custGeom>
            <a:solidFill>
              <a:srgbClr val="6823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6" name="Freeform 64">
              <a:extLst>
                <a:ext uri="{FF2B5EF4-FFF2-40B4-BE49-F238E27FC236}">
                  <a16:creationId xmlns:a16="http://schemas.microsoft.com/office/drawing/2014/main" id="{365FF470-BC68-4D83-91ED-F219C37B62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09" y="4196"/>
              <a:ext cx="150" cy="172"/>
            </a:xfrm>
            <a:custGeom>
              <a:avLst/>
              <a:gdLst>
                <a:gd name="T0" fmla="*/ 63 w 63"/>
                <a:gd name="T1" fmla="*/ 72 h 72"/>
                <a:gd name="T2" fmla="*/ 7 w 63"/>
                <a:gd name="T3" fmla="*/ 0 h 72"/>
                <a:gd name="T4" fmla="*/ 0 w 63"/>
                <a:gd name="T5" fmla="*/ 0 h 72"/>
                <a:gd name="T6" fmla="*/ 60 w 63"/>
                <a:gd name="T7" fmla="*/ 72 h 72"/>
                <a:gd name="T8" fmla="*/ 63 w 63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72">
                  <a:moveTo>
                    <a:pt x="63" y="72"/>
                  </a:moveTo>
                  <a:cubicBezTo>
                    <a:pt x="44" y="45"/>
                    <a:pt x="24" y="19"/>
                    <a:pt x="7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8" y="19"/>
                    <a:pt x="40" y="45"/>
                    <a:pt x="60" y="72"/>
                  </a:cubicBezTo>
                  <a:lnTo>
                    <a:pt x="63" y="72"/>
                  </a:lnTo>
                  <a:close/>
                </a:path>
              </a:pathLst>
            </a:custGeom>
            <a:solidFill>
              <a:srgbClr val="2BA9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7" name="Freeform 65">
              <a:extLst>
                <a:ext uri="{FF2B5EF4-FFF2-40B4-BE49-F238E27FC236}">
                  <a16:creationId xmlns:a16="http://schemas.microsoft.com/office/drawing/2014/main" id="{FE963DD9-093F-4C40-9E38-802DE92F3A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71" y="4196"/>
              <a:ext cx="181" cy="172"/>
            </a:xfrm>
            <a:custGeom>
              <a:avLst/>
              <a:gdLst>
                <a:gd name="T0" fmla="*/ 76 w 76"/>
                <a:gd name="T1" fmla="*/ 72 h 72"/>
                <a:gd name="T2" fmla="*/ 16 w 76"/>
                <a:gd name="T3" fmla="*/ 0 h 72"/>
                <a:gd name="T4" fmla="*/ 0 w 76"/>
                <a:gd name="T5" fmla="*/ 2 h 72"/>
                <a:gd name="T6" fmla="*/ 68 w 76"/>
                <a:gd name="T7" fmla="*/ 72 h 72"/>
                <a:gd name="T8" fmla="*/ 76 w 76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72">
                  <a:moveTo>
                    <a:pt x="76" y="72"/>
                  </a:moveTo>
                  <a:cubicBezTo>
                    <a:pt x="56" y="45"/>
                    <a:pt x="34" y="19"/>
                    <a:pt x="16" y="0"/>
                  </a:cubicBezTo>
                  <a:cubicBezTo>
                    <a:pt x="10" y="1"/>
                    <a:pt x="5" y="1"/>
                    <a:pt x="0" y="2"/>
                  </a:cubicBezTo>
                  <a:cubicBezTo>
                    <a:pt x="21" y="21"/>
                    <a:pt x="46" y="46"/>
                    <a:pt x="68" y="72"/>
                  </a:cubicBezTo>
                  <a:lnTo>
                    <a:pt x="76" y="72"/>
                  </a:lnTo>
                  <a:close/>
                </a:path>
              </a:pathLst>
            </a:custGeom>
            <a:solidFill>
              <a:srgbClr val="0790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8" name="Freeform 66">
              <a:extLst>
                <a:ext uri="{FF2B5EF4-FFF2-40B4-BE49-F238E27FC236}">
                  <a16:creationId xmlns:a16="http://schemas.microsoft.com/office/drawing/2014/main" id="{3BCC71FC-43A8-45C6-8BF8-E37911CB7C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4" y="4200"/>
              <a:ext cx="219" cy="175"/>
            </a:xfrm>
            <a:custGeom>
              <a:avLst/>
              <a:gdLst>
                <a:gd name="T0" fmla="*/ 81 w 92"/>
                <a:gd name="T1" fmla="*/ 70 h 73"/>
                <a:gd name="T2" fmla="*/ 92 w 92"/>
                <a:gd name="T3" fmla="*/ 70 h 73"/>
                <a:gd name="T4" fmla="*/ 24 w 92"/>
                <a:gd name="T5" fmla="*/ 0 h 73"/>
                <a:gd name="T6" fmla="*/ 0 w 92"/>
                <a:gd name="T7" fmla="*/ 6 h 73"/>
                <a:gd name="T8" fmla="*/ 81 w 92"/>
                <a:gd name="T9" fmla="*/ 73 h 73"/>
                <a:gd name="T10" fmla="*/ 81 w 92"/>
                <a:gd name="T11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73">
                  <a:moveTo>
                    <a:pt x="81" y="70"/>
                  </a:moveTo>
                  <a:cubicBezTo>
                    <a:pt x="92" y="70"/>
                    <a:pt x="92" y="70"/>
                    <a:pt x="92" y="70"/>
                  </a:cubicBezTo>
                  <a:cubicBezTo>
                    <a:pt x="70" y="44"/>
                    <a:pt x="45" y="19"/>
                    <a:pt x="24" y="0"/>
                  </a:cubicBezTo>
                  <a:cubicBezTo>
                    <a:pt x="15" y="1"/>
                    <a:pt x="7" y="3"/>
                    <a:pt x="0" y="6"/>
                  </a:cubicBezTo>
                  <a:cubicBezTo>
                    <a:pt x="25" y="26"/>
                    <a:pt x="54" y="49"/>
                    <a:pt x="81" y="73"/>
                  </a:cubicBezTo>
                  <a:lnTo>
                    <a:pt x="81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" name="Freeform 67">
              <a:extLst>
                <a:ext uri="{FF2B5EF4-FFF2-40B4-BE49-F238E27FC236}">
                  <a16:creationId xmlns:a16="http://schemas.microsoft.com/office/drawing/2014/main" id="{96522856-5041-452E-B088-B6E05F67FD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8" y="4215"/>
              <a:ext cx="228" cy="184"/>
            </a:xfrm>
            <a:custGeom>
              <a:avLst/>
              <a:gdLst>
                <a:gd name="T0" fmla="*/ 96 w 96"/>
                <a:gd name="T1" fmla="*/ 67 h 77"/>
                <a:gd name="T2" fmla="*/ 15 w 96"/>
                <a:gd name="T3" fmla="*/ 0 h 77"/>
                <a:gd name="T4" fmla="*/ 0 w 96"/>
                <a:gd name="T5" fmla="*/ 8 h 77"/>
                <a:gd name="T6" fmla="*/ 96 w 96"/>
                <a:gd name="T7" fmla="*/ 77 h 77"/>
                <a:gd name="T8" fmla="*/ 96 w 96"/>
                <a:gd name="T9" fmla="*/ 6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77">
                  <a:moveTo>
                    <a:pt x="96" y="67"/>
                  </a:moveTo>
                  <a:cubicBezTo>
                    <a:pt x="69" y="43"/>
                    <a:pt x="40" y="20"/>
                    <a:pt x="15" y="0"/>
                  </a:cubicBezTo>
                  <a:cubicBezTo>
                    <a:pt x="9" y="2"/>
                    <a:pt x="4" y="5"/>
                    <a:pt x="0" y="8"/>
                  </a:cubicBezTo>
                  <a:cubicBezTo>
                    <a:pt x="28" y="29"/>
                    <a:pt x="63" y="53"/>
                    <a:pt x="96" y="77"/>
                  </a:cubicBezTo>
                  <a:lnTo>
                    <a:pt x="96" y="67"/>
                  </a:lnTo>
                  <a:close/>
                </a:path>
              </a:pathLst>
            </a:custGeom>
            <a:solidFill>
              <a:srgbClr val="E951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30" name="Freeform 68">
              <a:extLst>
                <a:ext uri="{FF2B5EF4-FFF2-40B4-BE49-F238E27FC236}">
                  <a16:creationId xmlns:a16="http://schemas.microsoft.com/office/drawing/2014/main" id="{FD1F7A9B-A319-438D-A53F-07C9CC1ABE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6" y="4234"/>
              <a:ext cx="230" cy="167"/>
            </a:xfrm>
            <a:custGeom>
              <a:avLst/>
              <a:gdLst>
                <a:gd name="T0" fmla="*/ 97 w 97"/>
                <a:gd name="T1" fmla="*/ 69 h 70"/>
                <a:gd name="T2" fmla="*/ 1 w 97"/>
                <a:gd name="T3" fmla="*/ 0 h 70"/>
                <a:gd name="T4" fmla="*/ 0 w 97"/>
                <a:gd name="T5" fmla="*/ 1 h 70"/>
                <a:gd name="T6" fmla="*/ 97 w 97"/>
                <a:gd name="T7" fmla="*/ 70 h 70"/>
                <a:gd name="T8" fmla="*/ 97 w 97"/>
                <a:gd name="T9" fmla="*/ 6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70">
                  <a:moveTo>
                    <a:pt x="97" y="69"/>
                  </a:moveTo>
                  <a:cubicBezTo>
                    <a:pt x="64" y="45"/>
                    <a:pt x="29" y="21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8" y="22"/>
                    <a:pt x="64" y="46"/>
                    <a:pt x="97" y="70"/>
                  </a:cubicBezTo>
                  <a:lnTo>
                    <a:pt x="97" y="69"/>
                  </a:lnTo>
                  <a:close/>
                </a:path>
              </a:pathLst>
            </a:custGeom>
            <a:solidFill>
              <a:srgbClr val="0C2C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31" name="Freeform 69">
              <a:extLst>
                <a:ext uri="{FF2B5EF4-FFF2-40B4-BE49-F238E27FC236}">
                  <a16:creationId xmlns:a16="http://schemas.microsoft.com/office/drawing/2014/main" id="{E62AD71C-94C1-48EC-AC80-789B57FB45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37" y="4231"/>
              <a:ext cx="19" cy="137"/>
            </a:xfrm>
            <a:custGeom>
              <a:avLst/>
              <a:gdLst>
                <a:gd name="T0" fmla="*/ 2 w 8"/>
                <a:gd name="T1" fmla="*/ 57 h 57"/>
                <a:gd name="T2" fmla="*/ 8 w 8"/>
                <a:gd name="T3" fmla="*/ 2 h 57"/>
                <a:gd name="T4" fmla="*/ 4 w 8"/>
                <a:gd name="T5" fmla="*/ 0 h 57"/>
                <a:gd name="T6" fmla="*/ 1 w 8"/>
                <a:gd name="T7" fmla="*/ 57 h 57"/>
                <a:gd name="T8" fmla="*/ 2 w 8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7">
                  <a:moveTo>
                    <a:pt x="2" y="57"/>
                  </a:moveTo>
                  <a:cubicBezTo>
                    <a:pt x="2" y="37"/>
                    <a:pt x="3" y="17"/>
                    <a:pt x="8" y="2"/>
                  </a:cubicBezTo>
                  <a:cubicBezTo>
                    <a:pt x="7" y="1"/>
                    <a:pt x="5" y="0"/>
                    <a:pt x="4" y="0"/>
                  </a:cubicBezTo>
                  <a:cubicBezTo>
                    <a:pt x="0" y="15"/>
                    <a:pt x="0" y="36"/>
                    <a:pt x="1" y="57"/>
                  </a:cubicBezTo>
                  <a:lnTo>
                    <a:pt x="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32" name="Freeform 70">
              <a:extLst>
                <a:ext uri="{FF2B5EF4-FFF2-40B4-BE49-F238E27FC236}">
                  <a16:creationId xmlns:a16="http://schemas.microsoft.com/office/drawing/2014/main" id="{052CB1F7-86D6-42D6-8AFB-303573187A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49" y="4435"/>
              <a:ext cx="38" cy="62"/>
            </a:xfrm>
            <a:custGeom>
              <a:avLst/>
              <a:gdLst>
                <a:gd name="T0" fmla="*/ 16 w 16"/>
                <a:gd name="T1" fmla="*/ 26 h 26"/>
                <a:gd name="T2" fmla="*/ 7 w 16"/>
                <a:gd name="T3" fmla="*/ 13 h 26"/>
                <a:gd name="T4" fmla="*/ 1 w 16"/>
                <a:gd name="T5" fmla="*/ 2 h 26"/>
                <a:gd name="T6" fmla="*/ 0 w 16"/>
                <a:gd name="T7" fmla="*/ 0 h 26"/>
                <a:gd name="T8" fmla="*/ 0 w 16"/>
                <a:gd name="T9" fmla="*/ 1 h 26"/>
                <a:gd name="T10" fmla="*/ 0 w 16"/>
                <a:gd name="T11" fmla="*/ 12 h 26"/>
                <a:gd name="T12" fmla="*/ 0 w 16"/>
                <a:gd name="T13" fmla="*/ 26 h 26"/>
                <a:gd name="T14" fmla="*/ 16 w 1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6">
                  <a:moveTo>
                    <a:pt x="16" y="26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5" y="9"/>
                    <a:pt x="2" y="5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5"/>
                    <a:pt x="0" y="9"/>
                    <a:pt x="0" y="1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6" y="26"/>
                    <a:pt x="11" y="26"/>
                    <a:pt x="16" y="26"/>
                  </a:cubicBez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33" name="Freeform 71">
              <a:extLst>
                <a:ext uri="{FF2B5EF4-FFF2-40B4-BE49-F238E27FC236}">
                  <a16:creationId xmlns:a16="http://schemas.microsoft.com/office/drawing/2014/main" id="{9688D420-13DC-4FC1-B95F-24D4D31A6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2" y="4236"/>
              <a:ext cx="244" cy="172"/>
            </a:xfrm>
            <a:custGeom>
              <a:avLst/>
              <a:gdLst>
                <a:gd name="T0" fmla="*/ 103 w 103"/>
                <a:gd name="T1" fmla="*/ 69 h 72"/>
                <a:gd name="T2" fmla="*/ 6 w 103"/>
                <a:gd name="T3" fmla="*/ 0 h 72"/>
                <a:gd name="T4" fmla="*/ 0 w 103"/>
                <a:gd name="T5" fmla="*/ 4 h 72"/>
                <a:gd name="T6" fmla="*/ 103 w 103"/>
                <a:gd name="T7" fmla="*/ 72 h 72"/>
                <a:gd name="T8" fmla="*/ 103 w 103"/>
                <a:gd name="T9" fmla="*/ 6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72">
                  <a:moveTo>
                    <a:pt x="103" y="69"/>
                  </a:moveTo>
                  <a:cubicBezTo>
                    <a:pt x="70" y="45"/>
                    <a:pt x="34" y="21"/>
                    <a:pt x="6" y="0"/>
                  </a:cubicBezTo>
                  <a:cubicBezTo>
                    <a:pt x="4" y="1"/>
                    <a:pt x="2" y="3"/>
                    <a:pt x="0" y="4"/>
                  </a:cubicBezTo>
                  <a:cubicBezTo>
                    <a:pt x="30" y="25"/>
                    <a:pt x="68" y="49"/>
                    <a:pt x="103" y="72"/>
                  </a:cubicBezTo>
                  <a:lnTo>
                    <a:pt x="103" y="69"/>
                  </a:lnTo>
                  <a:close/>
                </a:path>
              </a:pathLst>
            </a:custGeom>
            <a:solidFill>
              <a:srgbClr val="4DB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34" name="Freeform 72">
              <a:extLst>
                <a:ext uri="{FF2B5EF4-FFF2-40B4-BE49-F238E27FC236}">
                  <a16:creationId xmlns:a16="http://schemas.microsoft.com/office/drawing/2014/main" id="{85A4C70C-1439-4346-A3CC-E3A993FEEF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50" y="4497"/>
              <a:ext cx="64" cy="26"/>
            </a:xfrm>
            <a:custGeom>
              <a:avLst/>
              <a:gdLst>
                <a:gd name="T0" fmla="*/ 27 w 27"/>
                <a:gd name="T1" fmla="*/ 0 h 11"/>
                <a:gd name="T2" fmla="*/ 0 w 27"/>
                <a:gd name="T3" fmla="*/ 0 h 11"/>
                <a:gd name="T4" fmla="*/ 0 w 27"/>
                <a:gd name="T5" fmla="*/ 11 h 11"/>
                <a:gd name="T6" fmla="*/ 7 w 27"/>
                <a:gd name="T7" fmla="*/ 11 h 11"/>
                <a:gd name="T8" fmla="*/ 27 w 27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1">
                  <a:moveTo>
                    <a:pt x="27" y="0"/>
                  </a:moveTo>
                  <a:cubicBezTo>
                    <a:pt x="18" y="0"/>
                    <a:pt x="9" y="0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9" y="11"/>
                    <a:pt x="25" y="7"/>
                    <a:pt x="27" y="0"/>
                  </a:cubicBezTo>
                  <a:close/>
                </a:path>
              </a:pathLst>
            </a:custGeom>
            <a:solidFill>
              <a:srgbClr val="E951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35" name="Freeform 73">
              <a:extLst>
                <a:ext uri="{FF2B5EF4-FFF2-40B4-BE49-F238E27FC236}">
                  <a16:creationId xmlns:a16="http://schemas.microsoft.com/office/drawing/2014/main" id="{54B21B79-9CEA-4114-BF71-92033A7C56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50" y="4406"/>
              <a:ext cx="68" cy="91"/>
            </a:xfrm>
            <a:custGeom>
              <a:avLst/>
              <a:gdLst>
                <a:gd name="T0" fmla="*/ 8 w 29"/>
                <a:gd name="T1" fmla="*/ 0 h 38"/>
                <a:gd name="T2" fmla="*/ 0 w 29"/>
                <a:gd name="T3" fmla="*/ 0 h 38"/>
                <a:gd name="T4" fmla="*/ 0 w 29"/>
                <a:gd name="T5" fmla="*/ 38 h 38"/>
                <a:gd name="T6" fmla="*/ 27 w 29"/>
                <a:gd name="T7" fmla="*/ 38 h 38"/>
                <a:gd name="T8" fmla="*/ 29 w 29"/>
                <a:gd name="T9" fmla="*/ 25 h 38"/>
                <a:gd name="T10" fmla="*/ 8 w 29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8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9" y="38"/>
                    <a:pt x="18" y="38"/>
                    <a:pt x="27" y="38"/>
                  </a:cubicBezTo>
                  <a:cubicBezTo>
                    <a:pt x="29" y="35"/>
                    <a:pt x="29" y="30"/>
                    <a:pt x="29" y="25"/>
                  </a:cubicBezTo>
                  <a:cubicBezTo>
                    <a:pt x="29" y="11"/>
                    <a:pt x="25" y="0"/>
                    <a:pt x="8" y="0"/>
                  </a:cubicBez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36" name="Freeform 74">
              <a:extLst>
                <a:ext uri="{FF2B5EF4-FFF2-40B4-BE49-F238E27FC236}">
                  <a16:creationId xmlns:a16="http://schemas.microsoft.com/office/drawing/2014/main" id="{729961E4-3A68-445D-B331-29E37C21CA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6" y="4368"/>
              <a:ext cx="174" cy="196"/>
            </a:xfrm>
            <a:custGeom>
              <a:avLst/>
              <a:gdLst>
                <a:gd name="T0" fmla="*/ 0 w 73"/>
                <a:gd name="T1" fmla="*/ 13 h 82"/>
                <a:gd name="T2" fmla="*/ 0 w 73"/>
                <a:gd name="T3" fmla="*/ 3 h 82"/>
                <a:gd name="T4" fmla="*/ 0 w 73"/>
                <a:gd name="T5" fmla="*/ 0 h 82"/>
                <a:gd name="T6" fmla="*/ 11 w 73"/>
                <a:gd name="T7" fmla="*/ 0 h 82"/>
                <a:gd name="T8" fmla="*/ 19 w 73"/>
                <a:gd name="T9" fmla="*/ 0 h 82"/>
                <a:gd name="T10" fmla="*/ 22 w 73"/>
                <a:gd name="T11" fmla="*/ 0 h 82"/>
                <a:gd name="T12" fmla="*/ 22 w 73"/>
                <a:gd name="T13" fmla="*/ 0 h 82"/>
                <a:gd name="T14" fmla="*/ 27 w 73"/>
                <a:gd name="T15" fmla="*/ 9 h 82"/>
                <a:gd name="T16" fmla="*/ 27 w 73"/>
                <a:gd name="T17" fmla="*/ 9 h 82"/>
                <a:gd name="T18" fmla="*/ 45 w 73"/>
                <a:gd name="T19" fmla="*/ 37 h 82"/>
                <a:gd name="T20" fmla="*/ 45 w 73"/>
                <a:gd name="T21" fmla="*/ 37 h 82"/>
                <a:gd name="T22" fmla="*/ 48 w 73"/>
                <a:gd name="T23" fmla="*/ 41 h 82"/>
                <a:gd name="T24" fmla="*/ 51 w 73"/>
                <a:gd name="T25" fmla="*/ 48 h 82"/>
                <a:gd name="T26" fmla="*/ 55 w 73"/>
                <a:gd name="T27" fmla="*/ 54 h 82"/>
                <a:gd name="T28" fmla="*/ 55 w 73"/>
                <a:gd name="T29" fmla="*/ 42 h 82"/>
                <a:gd name="T30" fmla="*/ 55 w 73"/>
                <a:gd name="T31" fmla="*/ 31 h 82"/>
                <a:gd name="T32" fmla="*/ 55 w 73"/>
                <a:gd name="T33" fmla="*/ 0 h 82"/>
                <a:gd name="T34" fmla="*/ 55 w 73"/>
                <a:gd name="T35" fmla="*/ 0 h 82"/>
                <a:gd name="T36" fmla="*/ 56 w 73"/>
                <a:gd name="T37" fmla="*/ 0 h 82"/>
                <a:gd name="T38" fmla="*/ 57 w 73"/>
                <a:gd name="T39" fmla="*/ 0 h 82"/>
                <a:gd name="T40" fmla="*/ 64 w 73"/>
                <a:gd name="T41" fmla="*/ 0 h 82"/>
                <a:gd name="T42" fmla="*/ 73 w 73"/>
                <a:gd name="T43" fmla="*/ 0 h 82"/>
                <a:gd name="T44" fmla="*/ 73 w 73"/>
                <a:gd name="T45" fmla="*/ 25 h 82"/>
                <a:gd name="T46" fmla="*/ 73 w 73"/>
                <a:gd name="T47" fmla="*/ 27 h 82"/>
                <a:gd name="T48" fmla="*/ 73 w 73"/>
                <a:gd name="T49" fmla="*/ 39 h 82"/>
                <a:gd name="T50" fmla="*/ 73 w 73"/>
                <a:gd name="T51" fmla="*/ 44 h 82"/>
                <a:gd name="T52" fmla="*/ 73 w 73"/>
                <a:gd name="T53" fmla="*/ 79 h 82"/>
                <a:gd name="T54" fmla="*/ 73 w 73"/>
                <a:gd name="T55" fmla="*/ 82 h 82"/>
                <a:gd name="T56" fmla="*/ 64 w 73"/>
                <a:gd name="T57" fmla="*/ 82 h 82"/>
                <a:gd name="T58" fmla="*/ 53 w 73"/>
                <a:gd name="T59" fmla="*/ 82 h 82"/>
                <a:gd name="T60" fmla="*/ 51 w 73"/>
                <a:gd name="T61" fmla="*/ 82 h 82"/>
                <a:gd name="T62" fmla="*/ 43 w 73"/>
                <a:gd name="T63" fmla="*/ 70 h 82"/>
                <a:gd name="T64" fmla="*/ 41 w 73"/>
                <a:gd name="T65" fmla="*/ 67 h 82"/>
                <a:gd name="T66" fmla="*/ 34 w 73"/>
                <a:gd name="T67" fmla="*/ 54 h 82"/>
                <a:gd name="T68" fmla="*/ 25 w 73"/>
                <a:gd name="T69" fmla="*/ 41 h 82"/>
                <a:gd name="T70" fmla="*/ 19 w 73"/>
                <a:gd name="T71" fmla="*/ 30 h 82"/>
                <a:gd name="T72" fmla="*/ 18 w 73"/>
                <a:gd name="T73" fmla="*/ 28 h 82"/>
                <a:gd name="T74" fmla="*/ 18 w 73"/>
                <a:gd name="T75" fmla="*/ 29 h 82"/>
                <a:gd name="T76" fmla="*/ 18 w 73"/>
                <a:gd name="T77" fmla="*/ 40 h 82"/>
                <a:gd name="T78" fmla="*/ 18 w 73"/>
                <a:gd name="T79" fmla="*/ 54 h 82"/>
                <a:gd name="T80" fmla="*/ 18 w 73"/>
                <a:gd name="T81" fmla="*/ 82 h 82"/>
                <a:gd name="T82" fmla="*/ 0 w 73"/>
                <a:gd name="T83" fmla="*/ 82 h 82"/>
                <a:gd name="T84" fmla="*/ 0 w 73"/>
                <a:gd name="T85" fmla="*/ 54 h 82"/>
                <a:gd name="T86" fmla="*/ 0 w 73"/>
                <a:gd name="T87" fmla="*/ 17 h 82"/>
                <a:gd name="T88" fmla="*/ 0 w 73"/>
                <a:gd name="T89" fmla="*/ 14 h 82"/>
                <a:gd name="T90" fmla="*/ 0 w 73"/>
                <a:gd name="T91" fmla="*/ 13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3" h="82">
                  <a:moveTo>
                    <a:pt x="0" y="1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9" y="43"/>
                    <a:pt x="50" y="45"/>
                    <a:pt x="51" y="48"/>
                  </a:cubicBezTo>
                  <a:cubicBezTo>
                    <a:pt x="53" y="50"/>
                    <a:pt x="54" y="53"/>
                    <a:pt x="55" y="54"/>
                  </a:cubicBezTo>
                  <a:cubicBezTo>
                    <a:pt x="55" y="51"/>
                    <a:pt x="55" y="45"/>
                    <a:pt x="55" y="42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79"/>
                    <a:pt x="73" y="79"/>
                    <a:pt x="73" y="79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4" y="82"/>
                    <a:pt x="64" y="82"/>
                    <a:pt x="64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3" y="37"/>
                    <a:pt x="20" y="33"/>
                    <a:pt x="19" y="30"/>
                  </a:cubicBezTo>
                  <a:cubicBezTo>
                    <a:pt x="18" y="29"/>
                    <a:pt x="18" y="29"/>
                    <a:pt x="18" y="28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33"/>
                    <a:pt x="18" y="37"/>
                    <a:pt x="18" y="40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4"/>
                    <a:pt x="0" y="14"/>
                    <a:pt x="0" y="14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37" name="Rectangle 75">
              <a:extLst>
                <a:ext uri="{FF2B5EF4-FFF2-40B4-BE49-F238E27FC236}">
                  <a16:creationId xmlns:a16="http://schemas.microsoft.com/office/drawing/2014/main" id="{6BBED38C-A96C-4DBB-AA75-D8FFA81A182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605" y="4368"/>
              <a:ext cx="47" cy="19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38" name="Freeform 76">
              <a:extLst>
                <a:ext uri="{FF2B5EF4-FFF2-40B4-BE49-F238E27FC236}">
                  <a16:creationId xmlns:a16="http://schemas.microsoft.com/office/drawing/2014/main" id="{06CB7290-8033-4E0B-8260-E423A9CB84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00" y="4368"/>
              <a:ext cx="171" cy="196"/>
            </a:xfrm>
            <a:custGeom>
              <a:avLst/>
              <a:gdLst>
                <a:gd name="T0" fmla="*/ 31 w 72"/>
                <a:gd name="T1" fmla="*/ 0 h 82"/>
                <a:gd name="T2" fmla="*/ 0 w 72"/>
                <a:gd name="T3" fmla="*/ 0 h 82"/>
                <a:gd name="T4" fmla="*/ 0 w 72"/>
                <a:gd name="T5" fmla="*/ 54 h 82"/>
                <a:gd name="T6" fmla="*/ 0 w 72"/>
                <a:gd name="T7" fmla="*/ 82 h 82"/>
                <a:gd name="T8" fmla="*/ 30 w 72"/>
                <a:gd name="T9" fmla="*/ 82 h 82"/>
                <a:gd name="T10" fmla="*/ 70 w 72"/>
                <a:gd name="T11" fmla="*/ 54 h 82"/>
                <a:gd name="T12" fmla="*/ 72 w 72"/>
                <a:gd name="T13" fmla="*/ 41 h 82"/>
                <a:gd name="T14" fmla="*/ 31 w 72"/>
                <a:gd name="T15" fmla="*/ 0 h 82"/>
                <a:gd name="T16" fmla="*/ 48 w 72"/>
                <a:gd name="T17" fmla="*/ 54 h 82"/>
                <a:gd name="T18" fmla="*/ 28 w 72"/>
                <a:gd name="T19" fmla="*/ 65 h 82"/>
                <a:gd name="T20" fmla="*/ 21 w 72"/>
                <a:gd name="T21" fmla="*/ 65 h 82"/>
                <a:gd name="T22" fmla="*/ 21 w 72"/>
                <a:gd name="T23" fmla="*/ 54 h 82"/>
                <a:gd name="T24" fmla="*/ 21 w 72"/>
                <a:gd name="T25" fmla="*/ 16 h 82"/>
                <a:gd name="T26" fmla="*/ 29 w 72"/>
                <a:gd name="T27" fmla="*/ 16 h 82"/>
                <a:gd name="T28" fmla="*/ 50 w 72"/>
                <a:gd name="T29" fmla="*/ 41 h 82"/>
                <a:gd name="T30" fmla="*/ 48 w 72"/>
                <a:gd name="T31" fmla="*/ 5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" h="82">
                  <a:moveTo>
                    <a:pt x="3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54" y="82"/>
                    <a:pt x="66" y="69"/>
                    <a:pt x="70" y="54"/>
                  </a:cubicBezTo>
                  <a:cubicBezTo>
                    <a:pt x="71" y="50"/>
                    <a:pt x="72" y="45"/>
                    <a:pt x="72" y="41"/>
                  </a:cubicBezTo>
                  <a:cubicBezTo>
                    <a:pt x="72" y="20"/>
                    <a:pt x="61" y="0"/>
                    <a:pt x="31" y="0"/>
                  </a:cubicBezTo>
                  <a:close/>
                  <a:moveTo>
                    <a:pt x="48" y="54"/>
                  </a:moveTo>
                  <a:cubicBezTo>
                    <a:pt x="46" y="61"/>
                    <a:pt x="40" y="65"/>
                    <a:pt x="28" y="65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46" y="16"/>
                    <a:pt x="50" y="27"/>
                    <a:pt x="50" y="41"/>
                  </a:cubicBezTo>
                  <a:cubicBezTo>
                    <a:pt x="50" y="46"/>
                    <a:pt x="50" y="51"/>
                    <a:pt x="48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39" name="Freeform 77">
              <a:extLst>
                <a:ext uri="{FF2B5EF4-FFF2-40B4-BE49-F238E27FC236}">
                  <a16:creationId xmlns:a16="http://schemas.microsoft.com/office/drawing/2014/main" id="{36471778-1199-4710-BECD-8FBEA8FECC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7" y="4392"/>
              <a:ext cx="62" cy="105"/>
            </a:xfrm>
            <a:custGeom>
              <a:avLst/>
              <a:gdLst>
                <a:gd name="T0" fmla="*/ 0 w 62"/>
                <a:gd name="T1" fmla="*/ 0 h 105"/>
                <a:gd name="T2" fmla="*/ 22 w 62"/>
                <a:gd name="T3" fmla="*/ 0 h 105"/>
                <a:gd name="T4" fmla="*/ 22 w 62"/>
                <a:gd name="T5" fmla="*/ 88 h 105"/>
                <a:gd name="T6" fmla="*/ 62 w 62"/>
                <a:gd name="T7" fmla="*/ 88 h 105"/>
                <a:gd name="T8" fmla="*/ 62 w 62"/>
                <a:gd name="T9" fmla="*/ 105 h 105"/>
                <a:gd name="T10" fmla="*/ 0 w 62"/>
                <a:gd name="T11" fmla="*/ 105 h 105"/>
                <a:gd name="T12" fmla="*/ 0 w 62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5">
                  <a:moveTo>
                    <a:pt x="0" y="0"/>
                  </a:moveTo>
                  <a:lnTo>
                    <a:pt x="22" y="0"/>
                  </a:lnTo>
                  <a:lnTo>
                    <a:pt x="22" y="88"/>
                  </a:lnTo>
                  <a:lnTo>
                    <a:pt x="62" y="88"/>
                  </a:lnTo>
                  <a:lnTo>
                    <a:pt x="62" y="105"/>
                  </a:lnTo>
                  <a:lnTo>
                    <a:pt x="0" y="1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40" name="Freeform 78">
              <a:extLst>
                <a:ext uri="{FF2B5EF4-FFF2-40B4-BE49-F238E27FC236}">
                  <a16:creationId xmlns:a16="http://schemas.microsoft.com/office/drawing/2014/main" id="{20F4E92C-2937-4487-AA0C-E2F38B92D3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6" y="4392"/>
              <a:ext cx="105" cy="105"/>
            </a:xfrm>
            <a:custGeom>
              <a:avLst/>
              <a:gdLst>
                <a:gd name="T0" fmla="*/ 16 w 44"/>
                <a:gd name="T1" fmla="*/ 0 h 44"/>
                <a:gd name="T2" fmla="*/ 27 w 44"/>
                <a:gd name="T3" fmla="*/ 0 h 44"/>
                <a:gd name="T4" fmla="*/ 44 w 44"/>
                <a:gd name="T5" fmla="*/ 44 h 44"/>
                <a:gd name="T6" fmla="*/ 33 w 44"/>
                <a:gd name="T7" fmla="*/ 44 h 44"/>
                <a:gd name="T8" fmla="*/ 30 w 44"/>
                <a:gd name="T9" fmla="*/ 36 h 44"/>
                <a:gd name="T10" fmla="*/ 13 w 44"/>
                <a:gd name="T11" fmla="*/ 36 h 44"/>
                <a:gd name="T12" fmla="*/ 10 w 44"/>
                <a:gd name="T13" fmla="*/ 44 h 44"/>
                <a:gd name="T14" fmla="*/ 0 w 44"/>
                <a:gd name="T15" fmla="*/ 44 h 44"/>
                <a:gd name="T16" fmla="*/ 16 w 44"/>
                <a:gd name="T17" fmla="*/ 0 h 44"/>
                <a:gd name="T18" fmla="*/ 28 w 44"/>
                <a:gd name="T19" fmla="*/ 28 h 44"/>
                <a:gd name="T20" fmla="*/ 24 w 44"/>
                <a:gd name="T21" fmla="*/ 16 h 44"/>
                <a:gd name="T22" fmla="*/ 22 w 44"/>
                <a:gd name="T23" fmla="*/ 9 h 44"/>
                <a:gd name="T24" fmla="*/ 21 w 44"/>
                <a:gd name="T25" fmla="*/ 9 h 44"/>
                <a:gd name="T26" fmla="*/ 19 w 44"/>
                <a:gd name="T27" fmla="*/ 16 h 44"/>
                <a:gd name="T28" fmla="*/ 15 w 44"/>
                <a:gd name="T29" fmla="*/ 28 h 44"/>
                <a:gd name="T30" fmla="*/ 28 w 44"/>
                <a:gd name="T31" fmla="*/ 2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44">
                  <a:moveTo>
                    <a:pt x="16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0" y="44"/>
                    <a:pt x="0" y="44"/>
                    <a:pt x="0" y="44"/>
                  </a:cubicBezTo>
                  <a:lnTo>
                    <a:pt x="16" y="0"/>
                  </a:lnTo>
                  <a:close/>
                  <a:moveTo>
                    <a:pt x="28" y="28"/>
                  </a:moveTo>
                  <a:cubicBezTo>
                    <a:pt x="24" y="16"/>
                    <a:pt x="24" y="16"/>
                    <a:pt x="24" y="16"/>
                  </a:cubicBezTo>
                  <a:cubicBezTo>
                    <a:pt x="23" y="14"/>
                    <a:pt x="22" y="11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11"/>
                    <a:pt x="20" y="14"/>
                    <a:pt x="19" y="16"/>
                  </a:cubicBezTo>
                  <a:cubicBezTo>
                    <a:pt x="15" y="28"/>
                    <a:pt x="15" y="28"/>
                    <a:pt x="15" y="28"/>
                  </a:cubicBezTo>
                  <a:lnTo>
                    <a:pt x="28" y="28"/>
                  </a:ln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41" name="Freeform 79">
              <a:extLst>
                <a:ext uri="{FF2B5EF4-FFF2-40B4-BE49-F238E27FC236}">
                  <a16:creationId xmlns:a16="http://schemas.microsoft.com/office/drawing/2014/main" id="{7A89507D-4602-494A-A4BD-62747C1909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65" y="4392"/>
              <a:ext cx="79" cy="105"/>
            </a:xfrm>
            <a:custGeom>
              <a:avLst/>
              <a:gdLst>
                <a:gd name="T0" fmla="*/ 0 w 33"/>
                <a:gd name="T1" fmla="*/ 0 h 44"/>
                <a:gd name="T2" fmla="*/ 17 w 33"/>
                <a:gd name="T3" fmla="*/ 0 h 44"/>
                <a:gd name="T4" fmla="*/ 32 w 33"/>
                <a:gd name="T5" fmla="*/ 12 h 44"/>
                <a:gd name="T6" fmla="*/ 25 w 33"/>
                <a:gd name="T7" fmla="*/ 21 h 44"/>
                <a:gd name="T8" fmla="*/ 25 w 33"/>
                <a:gd name="T9" fmla="*/ 21 h 44"/>
                <a:gd name="T10" fmla="*/ 33 w 33"/>
                <a:gd name="T11" fmla="*/ 32 h 44"/>
                <a:gd name="T12" fmla="*/ 17 w 33"/>
                <a:gd name="T13" fmla="*/ 44 h 44"/>
                <a:gd name="T14" fmla="*/ 0 w 33"/>
                <a:gd name="T15" fmla="*/ 44 h 44"/>
                <a:gd name="T16" fmla="*/ 0 w 33"/>
                <a:gd name="T17" fmla="*/ 0 h 44"/>
                <a:gd name="T18" fmla="*/ 15 w 33"/>
                <a:gd name="T19" fmla="*/ 18 h 44"/>
                <a:gd name="T20" fmla="*/ 22 w 33"/>
                <a:gd name="T21" fmla="*/ 13 h 44"/>
                <a:gd name="T22" fmla="*/ 16 w 33"/>
                <a:gd name="T23" fmla="*/ 8 h 44"/>
                <a:gd name="T24" fmla="*/ 10 w 33"/>
                <a:gd name="T25" fmla="*/ 8 h 44"/>
                <a:gd name="T26" fmla="*/ 10 w 33"/>
                <a:gd name="T27" fmla="*/ 18 h 44"/>
                <a:gd name="T28" fmla="*/ 15 w 33"/>
                <a:gd name="T29" fmla="*/ 18 h 44"/>
                <a:gd name="T30" fmla="*/ 16 w 33"/>
                <a:gd name="T31" fmla="*/ 37 h 44"/>
                <a:gd name="T32" fmla="*/ 22 w 33"/>
                <a:gd name="T33" fmla="*/ 31 h 44"/>
                <a:gd name="T34" fmla="*/ 16 w 33"/>
                <a:gd name="T35" fmla="*/ 25 h 44"/>
                <a:gd name="T36" fmla="*/ 10 w 33"/>
                <a:gd name="T37" fmla="*/ 25 h 44"/>
                <a:gd name="T38" fmla="*/ 10 w 33"/>
                <a:gd name="T39" fmla="*/ 37 h 44"/>
                <a:gd name="T40" fmla="*/ 16 w 33"/>
                <a:gd name="T41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" h="44">
                  <a:moveTo>
                    <a:pt x="0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26" y="0"/>
                    <a:pt x="32" y="5"/>
                    <a:pt x="32" y="12"/>
                  </a:cubicBezTo>
                  <a:cubicBezTo>
                    <a:pt x="32" y="17"/>
                    <a:pt x="28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9" y="23"/>
                    <a:pt x="33" y="26"/>
                    <a:pt x="33" y="32"/>
                  </a:cubicBezTo>
                  <a:cubicBezTo>
                    <a:pt x="33" y="40"/>
                    <a:pt x="27" y="44"/>
                    <a:pt x="17" y="44"/>
                  </a:cubicBezTo>
                  <a:cubicBezTo>
                    <a:pt x="0" y="44"/>
                    <a:pt x="0" y="44"/>
                    <a:pt x="0" y="44"/>
                  </a:cubicBezTo>
                  <a:lnTo>
                    <a:pt x="0" y="0"/>
                  </a:lnTo>
                  <a:close/>
                  <a:moveTo>
                    <a:pt x="15" y="18"/>
                  </a:moveTo>
                  <a:cubicBezTo>
                    <a:pt x="20" y="18"/>
                    <a:pt x="22" y="16"/>
                    <a:pt x="22" y="13"/>
                  </a:cubicBezTo>
                  <a:cubicBezTo>
                    <a:pt x="22" y="10"/>
                    <a:pt x="20" y="8"/>
                    <a:pt x="16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18"/>
                    <a:pt x="10" y="18"/>
                    <a:pt x="10" y="18"/>
                  </a:cubicBezTo>
                  <a:lnTo>
                    <a:pt x="15" y="18"/>
                  </a:lnTo>
                  <a:close/>
                  <a:moveTo>
                    <a:pt x="16" y="37"/>
                  </a:moveTo>
                  <a:cubicBezTo>
                    <a:pt x="20" y="37"/>
                    <a:pt x="22" y="35"/>
                    <a:pt x="22" y="31"/>
                  </a:cubicBezTo>
                  <a:cubicBezTo>
                    <a:pt x="22" y="27"/>
                    <a:pt x="20" y="25"/>
                    <a:pt x="16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37"/>
                    <a:pt x="10" y="37"/>
                    <a:pt x="10" y="37"/>
                  </a:cubicBezTo>
                  <a:lnTo>
                    <a:pt x="16" y="37"/>
                  </a:ln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42" name="Freeform 80">
              <a:extLst>
                <a:ext uri="{FF2B5EF4-FFF2-40B4-BE49-F238E27FC236}">
                  <a16:creationId xmlns:a16="http://schemas.microsoft.com/office/drawing/2014/main" id="{2E25800B-0051-4E5B-AD62-DEE5CB9F15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0" y="4392"/>
              <a:ext cx="69" cy="107"/>
            </a:xfrm>
            <a:custGeom>
              <a:avLst/>
              <a:gdLst>
                <a:gd name="T0" fmla="*/ 0 w 29"/>
                <a:gd name="T1" fmla="*/ 43 h 45"/>
                <a:gd name="T2" fmla="*/ 0 w 29"/>
                <a:gd name="T3" fmla="*/ 34 h 45"/>
                <a:gd name="T4" fmla="*/ 11 w 29"/>
                <a:gd name="T5" fmla="*/ 37 h 45"/>
                <a:gd name="T6" fmla="*/ 19 w 29"/>
                <a:gd name="T7" fmla="*/ 32 h 45"/>
                <a:gd name="T8" fmla="*/ 9 w 29"/>
                <a:gd name="T9" fmla="*/ 25 h 45"/>
                <a:gd name="T10" fmla="*/ 0 w 29"/>
                <a:gd name="T11" fmla="*/ 12 h 45"/>
                <a:gd name="T12" fmla="*/ 15 w 29"/>
                <a:gd name="T13" fmla="*/ 0 h 45"/>
                <a:gd name="T14" fmla="*/ 26 w 29"/>
                <a:gd name="T15" fmla="*/ 2 h 45"/>
                <a:gd name="T16" fmla="*/ 26 w 29"/>
                <a:gd name="T17" fmla="*/ 10 h 45"/>
                <a:gd name="T18" fmla="*/ 16 w 29"/>
                <a:gd name="T19" fmla="*/ 8 h 45"/>
                <a:gd name="T20" fmla="*/ 9 w 29"/>
                <a:gd name="T21" fmla="*/ 12 h 45"/>
                <a:gd name="T22" fmla="*/ 16 w 29"/>
                <a:gd name="T23" fmla="*/ 18 h 45"/>
                <a:gd name="T24" fmla="*/ 29 w 29"/>
                <a:gd name="T25" fmla="*/ 32 h 45"/>
                <a:gd name="T26" fmla="*/ 13 w 29"/>
                <a:gd name="T27" fmla="*/ 45 h 45"/>
                <a:gd name="T28" fmla="*/ 0 w 29"/>
                <a:gd name="T29" fmla="*/ 4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45">
                  <a:moveTo>
                    <a:pt x="0" y="43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3" y="36"/>
                    <a:pt x="7" y="37"/>
                    <a:pt x="11" y="37"/>
                  </a:cubicBezTo>
                  <a:cubicBezTo>
                    <a:pt x="16" y="37"/>
                    <a:pt x="19" y="35"/>
                    <a:pt x="19" y="32"/>
                  </a:cubicBezTo>
                  <a:cubicBezTo>
                    <a:pt x="19" y="28"/>
                    <a:pt x="15" y="28"/>
                    <a:pt x="9" y="25"/>
                  </a:cubicBezTo>
                  <a:cubicBezTo>
                    <a:pt x="4" y="23"/>
                    <a:pt x="0" y="20"/>
                    <a:pt x="0" y="12"/>
                  </a:cubicBezTo>
                  <a:cubicBezTo>
                    <a:pt x="0" y="4"/>
                    <a:pt x="6" y="0"/>
                    <a:pt x="15" y="0"/>
                  </a:cubicBezTo>
                  <a:cubicBezTo>
                    <a:pt x="20" y="0"/>
                    <a:pt x="24" y="1"/>
                    <a:pt x="26" y="2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4" y="9"/>
                    <a:pt x="20" y="8"/>
                    <a:pt x="16" y="8"/>
                  </a:cubicBezTo>
                  <a:cubicBezTo>
                    <a:pt x="11" y="8"/>
                    <a:pt x="9" y="9"/>
                    <a:pt x="9" y="12"/>
                  </a:cubicBezTo>
                  <a:cubicBezTo>
                    <a:pt x="9" y="15"/>
                    <a:pt x="12" y="16"/>
                    <a:pt x="16" y="18"/>
                  </a:cubicBezTo>
                  <a:cubicBezTo>
                    <a:pt x="22" y="21"/>
                    <a:pt x="29" y="22"/>
                    <a:pt x="29" y="32"/>
                  </a:cubicBezTo>
                  <a:cubicBezTo>
                    <a:pt x="29" y="40"/>
                    <a:pt x="22" y="45"/>
                    <a:pt x="13" y="45"/>
                  </a:cubicBezTo>
                  <a:cubicBezTo>
                    <a:pt x="7" y="45"/>
                    <a:pt x="3" y="44"/>
                    <a:pt x="0" y="43"/>
                  </a:cubicBezTo>
                  <a:close/>
                </a:path>
              </a:pathLst>
            </a:custGeom>
            <a:solidFill>
              <a:srgbClr val="19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2306949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06" r:id="rId2"/>
    <p:sldLayoutId id="2147483693" r:id="rId3"/>
    <p:sldLayoutId id="2147483692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8" r:id="rId16"/>
    <p:sldLayoutId id="2147483713" r:id="rId1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2400" kern="1200" baseline="0" noProof="0" dirty="0" smtClean="0">
          <a:solidFill>
            <a:srgbClr val="656565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2400" kern="1200" baseline="0" noProof="0" dirty="0" smtClean="0">
          <a:solidFill>
            <a:srgbClr val="656565"/>
          </a:solidFill>
          <a:latin typeface="+mn-lt"/>
          <a:ea typeface="+mn-ea"/>
          <a:cs typeface="+mn-cs"/>
        </a:defRPr>
      </a:lvl2pPr>
      <a:lvl3pPr marL="1778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n-GB" sz="2400" kern="1200" noProof="0" dirty="0" smtClean="0">
          <a:solidFill>
            <a:srgbClr val="656565"/>
          </a:solidFill>
          <a:latin typeface="+mn-lt"/>
          <a:ea typeface="+mn-ea"/>
          <a:cs typeface="+mn-cs"/>
        </a:defRPr>
      </a:lvl3pPr>
      <a:lvl4pPr marL="3556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n-GB" sz="2400" kern="1200" noProof="0" dirty="0" smtClean="0">
          <a:solidFill>
            <a:srgbClr val="656565"/>
          </a:solidFill>
          <a:latin typeface="+mn-lt"/>
          <a:ea typeface="+mn-ea"/>
          <a:cs typeface="+mn-cs"/>
        </a:defRPr>
      </a:lvl4pPr>
      <a:lvl5pPr marL="5334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n-GB" sz="2400" kern="1200" baseline="0" noProof="0" dirty="0" smtClean="0">
          <a:solidFill>
            <a:srgbClr val="656565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400" kern="1200">
          <a:solidFill>
            <a:srgbClr val="656565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rgbClr val="656565"/>
          </a:solidFill>
          <a:latin typeface="+mn-lt"/>
          <a:ea typeface="+mn-ea"/>
          <a:cs typeface="+mn-cs"/>
        </a:defRPr>
      </a:lvl7pPr>
      <a:lvl8pPr marL="177800" indent="-177800" algn="l" defTabSz="914400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8pPr>
      <a:lvl9pPr marL="355600" indent="-177800" algn="l" defTabSz="914400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gif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74A160-4FF9-5A62-581A-115959D3CC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C3C6646-DF7D-2AA5-37AF-DE61645F39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C3C6646-DF7D-2AA5-37AF-DE61645F39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7" name="Titel 236">
            <a:extLst>
              <a:ext uri="{FF2B5EF4-FFF2-40B4-BE49-F238E27FC236}">
                <a16:creationId xmlns:a16="http://schemas.microsoft.com/office/drawing/2014/main" id="{5B4E4308-CEDF-3E13-15DE-43966BCA8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0125" y="2034552"/>
            <a:ext cx="7077075" cy="1548650"/>
          </a:xfrm>
        </p:spPr>
        <p:txBody>
          <a:bodyPr/>
          <a:lstStyle/>
          <a:p>
            <a:r>
              <a:rPr lang="en-US" sz="4000" dirty="0"/>
              <a:t>Autocast: automatic anycast site optimization </a:t>
            </a:r>
          </a:p>
        </p:txBody>
      </p:sp>
      <p:sp>
        <p:nvSpPr>
          <p:cNvPr id="240" name="Tijdelijke aanduiding voor verticale tekst 239">
            <a:extLst>
              <a:ext uri="{FF2B5EF4-FFF2-40B4-BE49-F238E27FC236}">
                <a16:creationId xmlns:a16="http://schemas.microsoft.com/office/drawing/2014/main" id="{9422FE05-2B3D-9FBD-1244-7929F2BBB0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810125" y="3570262"/>
            <a:ext cx="6922800" cy="1152049"/>
          </a:xfrm>
        </p:spPr>
        <p:txBody>
          <a:bodyPr/>
          <a:lstStyle/>
          <a:p>
            <a:r>
              <a:rPr lang="en-US" sz="2800" dirty="0"/>
              <a:t>Thijs van den Hout</a:t>
            </a:r>
          </a:p>
          <a:p>
            <a:r>
              <a:rPr lang="en-US" sz="2800" dirty="0"/>
              <a:t>DNS OARC | October 8, 2025</a:t>
            </a:r>
          </a:p>
        </p:txBody>
      </p:sp>
    </p:spTree>
    <p:extLst>
      <p:ext uri="{BB962C8B-B14F-4D97-AF65-F5344CB8AC3E}">
        <p14:creationId xmlns:p14="http://schemas.microsoft.com/office/powerpoint/2010/main" val="1754196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FB0DD9-3427-083E-4C17-ADD3F86A97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2323B-415A-C2D5-F686-1CE95CB512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suring the unmeasurab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C0F66DC-F05A-D4D5-637F-9F09C2B53F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8928" y="1092201"/>
            <a:ext cx="11274146" cy="4680000"/>
          </a:xfrm>
        </p:spPr>
        <p:txBody>
          <a:bodyPr/>
          <a:lstStyle/>
          <a:p>
            <a:r>
              <a:rPr lang="en-US" sz="2800" dirty="0"/>
              <a:t>Step 1: measure the latency from all possible anycast </a:t>
            </a:r>
            <a:r>
              <a:rPr lang="en-US" sz="2800" dirty="0" err="1"/>
              <a:t>PoPs</a:t>
            </a:r>
            <a:r>
              <a:rPr lang="en-US" sz="2800" dirty="0"/>
              <a:t> to all clients </a:t>
            </a:r>
          </a:p>
          <a:p>
            <a:endParaRPr lang="en-US" sz="2800" dirty="0"/>
          </a:p>
          <a:p>
            <a:r>
              <a:rPr lang="en-US" sz="2800" dirty="0"/>
              <a:t>Step 2: simulate anycast site selections and compute expected latency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726654D-B8AD-52A6-90C9-7F7CC7DB54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4486621"/>
              </p:ext>
            </p:extLst>
          </p:nvPr>
        </p:nvGraphicFramePr>
        <p:xfrm>
          <a:off x="2956878" y="3222149"/>
          <a:ext cx="6278244" cy="315515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77311">
                  <a:extLst>
                    <a:ext uri="{9D8B030D-6E8A-4147-A177-3AD203B41FA5}">
                      <a16:colId xmlns:a16="http://schemas.microsoft.com/office/drawing/2014/main" val="2618665067"/>
                    </a:ext>
                  </a:extLst>
                </a:gridCol>
                <a:gridCol w="1148039">
                  <a:extLst>
                    <a:ext uri="{9D8B030D-6E8A-4147-A177-3AD203B41FA5}">
                      <a16:colId xmlns:a16="http://schemas.microsoft.com/office/drawing/2014/main" val="725247770"/>
                    </a:ext>
                  </a:extLst>
                </a:gridCol>
                <a:gridCol w="1088020">
                  <a:extLst>
                    <a:ext uri="{9D8B030D-6E8A-4147-A177-3AD203B41FA5}">
                      <a16:colId xmlns:a16="http://schemas.microsoft.com/office/drawing/2014/main" val="358321653"/>
                    </a:ext>
                  </a:extLst>
                </a:gridCol>
                <a:gridCol w="1076446">
                  <a:extLst>
                    <a:ext uri="{9D8B030D-6E8A-4147-A177-3AD203B41FA5}">
                      <a16:colId xmlns:a16="http://schemas.microsoft.com/office/drawing/2014/main" val="3993693278"/>
                    </a:ext>
                  </a:extLst>
                </a:gridCol>
                <a:gridCol w="1076445">
                  <a:extLst>
                    <a:ext uri="{9D8B030D-6E8A-4147-A177-3AD203B41FA5}">
                      <a16:colId xmlns:a16="http://schemas.microsoft.com/office/drawing/2014/main" val="2560769600"/>
                    </a:ext>
                  </a:extLst>
                </a:gridCol>
                <a:gridCol w="611983">
                  <a:extLst>
                    <a:ext uri="{9D8B030D-6E8A-4147-A177-3AD203B41FA5}">
                      <a16:colId xmlns:a16="http://schemas.microsoft.com/office/drawing/2014/main" val="973849970"/>
                    </a:ext>
                  </a:extLst>
                </a:gridCol>
              </a:tblGrid>
              <a:tr h="707803">
                <a:tc>
                  <a:txBody>
                    <a:bodyPr/>
                    <a:lstStyle/>
                    <a:p>
                      <a:r>
                        <a:rPr lang="en-US" sz="2000" dirty="0"/>
                        <a:t>Ping R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dirty="0"/>
                        <a:t>Site A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ite 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ite 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dirty="0"/>
                        <a:t>Site D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6197364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Client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dirty="0"/>
                        <a:t>14.3ms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65.6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22.1ms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/>
                        <a:t>6.7m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660315862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Client 2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/>
                        <a:t>21.0m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84.1m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9.2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dirty="0"/>
                        <a:t>26.1m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987398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Client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dirty="0"/>
                        <a:t>40.5m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9.3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38.5ms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/>
                        <a:t>31.1m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0479582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.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dirty="0"/>
                        <a:t>…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84605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1291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04D216-1E7F-FB00-CBC3-79CEDF5191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D9B273-3081-1F59-EE22-70477E6681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suring the unmeasurab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1E2A187-0452-D7D0-21F1-E57F4A3DA3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8928" y="1092201"/>
            <a:ext cx="11274146" cy="4680000"/>
          </a:xfrm>
        </p:spPr>
        <p:txBody>
          <a:bodyPr/>
          <a:lstStyle/>
          <a:p>
            <a:r>
              <a:rPr lang="en-US" sz="2800" dirty="0"/>
              <a:t>Step 1: measure the latency from all possible anycast </a:t>
            </a:r>
            <a:r>
              <a:rPr lang="en-US" sz="2800" dirty="0" err="1"/>
              <a:t>PoPs</a:t>
            </a:r>
            <a:r>
              <a:rPr lang="en-US" sz="2800" dirty="0"/>
              <a:t> to all clients </a:t>
            </a:r>
          </a:p>
          <a:p>
            <a:endParaRPr lang="en-US" sz="2800" dirty="0"/>
          </a:p>
          <a:p>
            <a:r>
              <a:rPr lang="en-US" sz="2800" dirty="0"/>
              <a:t>Step 2: simulate anycast site selections and compute expected latency.</a:t>
            </a:r>
          </a:p>
          <a:p>
            <a:endParaRPr lang="en-US" sz="2800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8B5BC374-E27F-B070-D4EC-B1D328CB6F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0791013"/>
              </p:ext>
            </p:extLst>
          </p:nvPr>
        </p:nvGraphicFramePr>
        <p:xfrm>
          <a:off x="2956878" y="3222149"/>
          <a:ext cx="6278244" cy="315515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77311">
                  <a:extLst>
                    <a:ext uri="{9D8B030D-6E8A-4147-A177-3AD203B41FA5}">
                      <a16:colId xmlns:a16="http://schemas.microsoft.com/office/drawing/2014/main" val="2618665067"/>
                    </a:ext>
                  </a:extLst>
                </a:gridCol>
                <a:gridCol w="1148039">
                  <a:extLst>
                    <a:ext uri="{9D8B030D-6E8A-4147-A177-3AD203B41FA5}">
                      <a16:colId xmlns:a16="http://schemas.microsoft.com/office/drawing/2014/main" val="725247770"/>
                    </a:ext>
                  </a:extLst>
                </a:gridCol>
                <a:gridCol w="1088020">
                  <a:extLst>
                    <a:ext uri="{9D8B030D-6E8A-4147-A177-3AD203B41FA5}">
                      <a16:colId xmlns:a16="http://schemas.microsoft.com/office/drawing/2014/main" val="358321653"/>
                    </a:ext>
                  </a:extLst>
                </a:gridCol>
                <a:gridCol w="1076446">
                  <a:extLst>
                    <a:ext uri="{9D8B030D-6E8A-4147-A177-3AD203B41FA5}">
                      <a16:colId xmlns:a16="http://schemas.microsoft.com/office/drawing/2014/main" val="3993693278"/>
                    </a:ext>
                  </a:extLst>
                </a:gridCol>
                <a:gridCol w="1076445">
                  <a:extLst>
                    <a:ext uri="{9D8B030D-6E8A-4147-A177-3AD203B41FA5}">
                      <a16:colId xmlns:a16="http://schemas.microsoft.com/office/drawing/2014/main" val="2560769600"/>
                    </a:ext>
                  </a:extLst>
                </a:gridCol>
                <a:gridCol w="611983">
                  <a:extLst>
                    <a:ext uri="{9D8B030D-6E8A-4147-A177-3AD203B41FA5}">
                      <a16:colId xmlns:a16="http://schemas.microsoft.com/office/drawing/2014/main" val="973849970"/>
                    </a:ext>
                  </a:extLst>
                </a:gridCol>
              </a:tblGrid>
              <a:tr h="707803">
                <a:tc>
                  <a:txBody>
                    <a:bodyPr/>
                    <a:lstStyle/>
                    <a:p>
                      <a:r>
                        <a:rPr lang="en-US" sz="2000" dirty="0"/>
                        <a:t>Ping R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ite A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ite 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ite 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ite D</a:t>
                      </a:r>
                    </a:p>
                  </a:txBody>
                  <a:tcP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6197364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Client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14.3ms</a:t>
                      </a:r>
                    </a:p>
                  </a:txBody>
                  <a:tcP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65.6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22.1ms</a:t>
                      </a:r>
                    </a:p>
                  </a:txBody>
                  <a:tcPr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dirty="0"/>
                        <a:t>6.7ms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660315862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Client 2</a:t>
                      </a:r>
                    </a:p>
                  </a:txBody>
                  <a:tcPr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dirty="0"/>
                        <a:t>21.0ms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84.1ms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9.2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26.1ms</a:t>
                      </a:r>
                    </a:p>
                  </a:txBody>
                  <a:tcP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987398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Client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40.5ms</a:t>
                      </a:r>
                    </a:p>
                  </a:txBody>
                  <a:tcP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9.3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38.5ms</a:t>
                      </a:r>
                    </a:p>
                  </a:txBody>
                  <a:tcPr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dirty="0"/>
                        <a:t>31.1ms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0479582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.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84605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574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052525-D027-ECC4-537E-922E4F4BBF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20476-D0B0-B818-1FA9-7872C1A268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suring the unmeasurab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333998-9F5A-1B93-29D9-74267DC2CB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8928" y="1092201"/>
            <a:ext cx="11274146" cy="4680000"/>
          </a:xfrm>
        </p:spPr>
        <p:txBody>
          <a:bodyPr/>
          <a:lstStyle/>
          <a:p>
            <a:r>
              <a:rPr lang="en-US" sz="2800" dirty="0"/>
              <a:t>Step 1: measure the latency from all possible anycast </a:t>
            </a:r>
            <a:r>
              <a:rPr lang="en-US" sz="2800" dirty="0" err="1"/>
              <a:t>PoPs</a:t>
            </a:r>
            <a:r>
              <a:rPr lang="en-US" sz="2800" dirty="0"/>
              <a:t> to all clients </a:t>
            </a:r>
          </a:p>
          <a:p>
            <a:endParaRPr lang="en-US" sz="2800" dirty="0"/>
          </a:p>
          <a:p>
            <a:r>
              <a:rPr lang="en-US" sz="2800" dirty="0"/>
              <a:t>Step 2: simulate anycast site selections and compute expected latency.</a:t>
            </a:r>
          </a:p>
          <a:p>
            <a:endParaRPr lang="en-US" sz="2800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CFE1C45-0988-2AF0-E0DF-3DCE3CE267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1301969"/>
              </p:ext>
            </p:extLst>
          </p:nvPr>
        </p:nvGraphicFramePr>
        <p:xfrm>
          <a:off x="7899717" y="3210719"/>
          <a:ext cx="1186409" cy="315515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86409">
                  <a:extLst>
                    <a:ext uri="{9D8B030D-6E8A-4147-A177-3AD203B41FA5}">
                      <a16:colId xmlns:a16="http://schemas.microsoft.com/office/drawing/2014/main" val="1248408719"/>
                    </a:ext>
                  </a:extLst>
                </a:gridCol>
              </a:tblGrid>
              <a:tr h="707803">
                <a:tc>
                  <a:txBody>
                    <a:bodyPr/>
                    <a:lstStyle/>
                    <a:p>
                      <a:r>
                        <a:rPr lang="en-US" sz="2000" dirty="0"/>
                        <a:t>A+D</a:t>
                      </a:r>
                    </a:p>
                    <a:p>
                      <a:r>
                        <a:rPr lang="en-US" sz="2000" dirty="0"/>
                        <a:t>laten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5172630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b="1" dirty="0"/>
                        <a:t>6.7ms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416168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b="1" dirty="0"/>
                        <a:t>21.0ms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8975390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b="1" dirty="0"/>
                        <a:t>31.1ms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5729980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1081838"/>
                  </a:ext>
                </a:extLst>
              </a:tr>
            </a:tbl>
          </a:graphicData>
        </a:graphic>
      </p:graphicFrame>
      <p:sp>
        <p:nvSpPr>
          <p:cNvPr id="6" name="Right Arrow 5">
            <a:extLst>
              <a:ext uri="{FF2B5EF4-FFF2-40B4-BE49-F238E27FC236}">
                <a16:creationId xmlns:a16="http://schemas.microsoft.com/office/drawing/2014/main" id="{DCA09C81-3F23-48DB-8664-8BEFF521B9B0}"/>
              </a:ext>
            </a:extLst>
          </p:cNvPr>
          <p:cNvSpPr/>
          <p:nvPr/>
        </p:nvSpPr>
        <p:spPr>
          <a:xfrm>
            <a:off x="7115651" y="4599264"/>
            <a:ext cx="502920" cy="378064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884D2C5C-B808-5925-4B91-ACC30E3CBB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6372778"/>
              </p:ext>
            </p:extLst>
          </p:nvPr>
        </p:nvGraphicFramePr>
        <p:xfrm>
          <a:off x="648168" y="3210718"/>
          <a:ext cx="6278244" cy="315515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77311">
                  <a:extLst>
                    <a:ext uri="{9D8B030D-6E8A-4147-A177-3AD203B41FA5}">
                      <a16:colId xmlns:a16="http://schemas.microsoft.com/office/drawing/2014/main" val="2618665067"/>
                    </a:ext>
                  </a:extLst>
                </a:gridCol>
                <a:gridCol w="1148039">
                  <a:extLst>
                    <a:ext uri="{9D8B030D-6E8A-4147-A177-3AD203B41FA5}">
                      <a16:colId xmlns:a16="http://schemas.microsoft.com/office/drawing/2014/main" val="725247770"/>
                    </a:ext>
                  </a:extLst>
                </a:gridCol>
                <a:gridCol w="1088020">
                  <a:extLst>
                    <a:ext uri="{9D8B030D-6E8A-4147-A177-3AD203B41FA5}">
                      <a16:colId xmlns:a16="http://schemas.microsoft.com/office/drawing/2014/main" val="358321653"/>
                    </a:ext>
                  </a:extLst>
                </a:gridCol>
                <a:gridCol w="1076446">
                  <a:extLst>
                    <a:ext uri="{9D8B030D-6E8A-4147-A177-3AD203B41FA5}">
                      <a16:colId xmlns:a16="http://schemas.microsoft.com/office/drawing/2014/main" val="3993693278"/>
                    </a:ext>
                  </a:extLst>
                </a:gridCol>
                <a:gridCol w="1076445">
                  <a:extLst>
                    <a:ext uri="{9D8B030D-6E8A-4147-A177-3AD203B41FA5}">
                      <a16:colId xmlns:a16="http://schemas.microsoft.com/office/drawing/2014/main" val="2560769600"/>
                    </a:ext>
                  </a:extLst>
                </a:gridCol>
                <a:gridCol w="611983">
                  <a:extLst>
                    <a:ext uri="{9D8B030D-6E8A-4147-A177-3AD203B41FA5}">
                      <a16:colId xmlns:a16="http://schemas.microsoft.com/office/drawing/2014/main" val="973849970"/>
                    </a:ext>
                  </a:extLst>
                </a:gridCol>
              </a:tblGrid>
              <a:tr h="707803">
                <a:tc>
                  <a:txBody>
                    <a:bodyPr/>
                    <a:lstStyle/>
                    <a:p>
                      <a:r>
                        <a:rPr lang="en-US" sz="2000" dirty="0"/>
                        <a:t>Ping R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ite A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ite 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ite 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ite D</a:t>
                      </a:r>
                    </a:p>
                  </a:txBody>
                  <a:tcP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6197364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Client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14.3ms</a:t>
                      </a:r>
                    </a:p>
                  </a:txBody>
                  <a:tcP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65.6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22.1ms</a:t>
                      </a:r>
                    </a:p>
                  </a:txBody>
                  <a:tcPr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dirty="0"/>
                        <a:t>6.7ms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660315862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Client 2</a:t>
                      </a:r>
                    </a:p>
                  </a:txBody>
                  <a:tcPr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dirty="0"/>
                        <a:t>21.0ms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84.1ms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9.2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26.1ms</a:t>
                      </a:r>
                    </a:p>
                  </a:txBody>
                  <a:tcP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987398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Client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40.5ms</a:t>
                      </a:r>
                    </a:p>
                  </a:txBody>
                  <a:tcP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9.3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38.5ms</a:t>
                      </a:r>
                    </a:p>
                  </a:txBody>
                  <a:tcPr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dirty="0"/>
                        <a:t>31.1ms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0479582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.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84605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6606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EBFA36-E48C-6494-471C-8E92317E06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31FBF1-63AD-F101-6763-71E92EB77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mization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D4BE7D5-09A6-8DDE-3EF2-CC6E824E19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8928" y="1092201"/>
            <a:ext cx="11274146" cy="46800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Millions/billions of possible anycast site selec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Metric to optimize: median resolver latency weighted by nr queries</a:t>
            </a:r>
          </a:p>
          <a:p>
            <a:endParaRPr lang="en-US" sz="2800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7E6DC7A-0245-6DE1-B096-42ECB268C3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8748996"/>
              </p:ext>
            </p:extLst>
          </p:nvPr>
        </p:nvGraphicFramePr>
        <p:xfrm>
          <a:off x="797115" y="2476329"/>
          <a:ext cx="1136849" cy="315515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36849">
                  <a:extLst>
                    <a:ext uri="{9D8B030D-6E8A-4147-A177-3AD203B41FA5}">
                      <a16:colId xmlns:a16="http://schemas.microsoft.com/office/drawing/2014/main" val="4263915342"/>
                    </a:ext>
                  </a:extLst>
                </a:gridCol>
              </a:tblGrid>
              <a:tr h="707803">
                <a:tc>
                  <a:txBody>
                    <a:bodyPr/>
                    <a:lstStyle/>
                    <a:p>
                      <a:r>
                        <a:rPr lang="en-US" sz="2000" dirty="0"/>
                        <a:t>B+C</a:t>
                      </a:r>
                    </a:p>
                    <a:p>
                      <a:r>
                        <a:rPr lang="en-US" sz="2000" dirty="0"/>
                        <a:t>laten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6700384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b="1" dirty="0"/>
                        <a:t>22.1ms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2633578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b="1" dirty="0"/>
                        <a:t>9.2ms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7007757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b="1" dirty="0"/>
                        <a:t>9.3ms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123140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1747822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26DCBCE-C849-0918-A6BD-6F217B1E91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6874048"/>
              </p:ext>
            </p:extLst>
          </p:nvPr>
        </p:nvGraphicFramePr>
        <p:xfrm>
          <a:off x="2558859" y="2476329"/>
          <a:ext cx="1136849" cy="315515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36849">
                  <a:extLst>
                    <a:ext uri="{9D8B030D-6E8A-4147-A177-3AD203B41FA5}">
                      <a16:colId xmlns:a16="http://schemas.microsoft.com/office/drawing/2014/main" val="4263915342"/>
                    </a:ext>
                  </a:extLst>
                </a:gridCol>
              </a:tblGrid>
              <a:tr h="707803">
                <a:tc>
                  <a:txBody>
                    <a:bodyPr/>
                    <a:lstStyle/>
                    <a:p>
                      <a:r>
                        <a:rPr lang="en-US" sz="2000" dirty="0"/>
                        <a:t>A+D</a:t>
                      </a:r>
                    </a:p>
                    <a:p>
                      <a:r>
                        <a:rPr lang="en-US" sz="2000" dirty="0"/>
                        <a:t>laten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6700384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b="1" dirty="0"/>
                        <a:t>6.7ms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2633578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b="1" dirty="0"/>
                        <a:t>21.0ms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7007757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b="1" dirty="0"/>
                        <a:t>31.1ms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123140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1747822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E31F00B-D355-06A2-D1C9-5029D884B6A9}"/>
              </a:ext>
            </a:extLst>
          </p:cNvPr>
          <p:cNvSpPr txBox="1"/>
          <p:nvPr/>
        </p:nvSpPr>
        <p:spPr>
          <a:xfrm>
            <a:off x="725155" y="5757269"/>
            <a:ext cx="12827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15.3m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F7EF5A-2762-D15F-5866-712AD8895DC1}"/>
              </a:ext>
            </a:extLst>
          </p:cNvPr>
          <p:cNvSpPr txBox="1"/>
          <p:nvPr/>
        </p:nvSpPr>
        <p:spPr>
          <a:xfrm>
            <a:off x="2500524" y="5757268"/>
            <a:ext cx="12490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21.1m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A4B09C37-D5FA-E0A5-9A5C-7608180DC4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6859" y="3176624"/>
            <a:ext cx="7315205" cy="23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6DD16FE-0FA9-967B-213B-7EBD5880B313}"/>
              </a:ext>
            </a:extLst>
          </p:cNvPr>
          <p:cNvSpPr txBox="1"/>
          <p:nvPr/>
        </p:nvSpPr>
        <p:spPr>
          <a:xfrm>
            <a:off x="5989814" y="2626360"/>
            <a:ext cx="35092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656565"/>
                </a:solidFill>
              </a:rPr>
              <a:t>Simulated Anneal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742991A-E21D-E5BE-60EF-65E5DD949721}"/>
              </a:ext>
            </a:extLst>
          </p:cNvPr>
          <p:cNvSpPr txBox="1"/>
          <p:nvPr/>
        </p:nvSpPr>
        <p:spPr>
          <a:xfrm>
            <a:off x="9240050" y="5586209"/>
            <a:ext cx="23230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656565"/>
                </a:solidFill>
              </a:rPr>
              <a:t>Illustration: Wikimedia</a:t>
            </a:r>
          </a:p>
        </p:txBody>
      </p:sp>
    </p:spTree>
    <p:extLst>
      <p:ext uri="{BB962C8B-B14F-4D97-AF65-F5344CB8AC3E}">
        <p14:creationId xmlns:p14="http://schemas.microsoft.com/office/powerpoint/2010/main" val="316548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7" grpId="0"/>
      <p:bldP spid="8" grpId="0"/>
      <p:bldP spid="9" grpId="0"/>
      <p:bldP spid="1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CFDA68-7389-6837-80AC-5AAC82653C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56835F-6B8B-B9E2-5445-A738A5ADC8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tting it to the test on </a:t>
            </a:r>
            <a:r>
              <a:rPr lang="en-US" dirty="0" err="1"/>
              <a:t>Vultr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3C6D4BF-44B7-9C3C-6DB4-1FE43CE6AB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8927" y="1092201"/>
            <a:ext cx="11474571" cy="4680000"/>
          </a:xfrm>
        </p:spPr>
        <p:txBody>
          <a:bodyPr/>
          <a:lstStyle/>
          <a:p>
            <a:r>
              <a:rPr lang="en-US" sz="2800" b="1" dirty="0"/>
              <a:t>Measurement</a:t>
            </a: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Automatic infrastructure deployment on </a:t>
            </a:r>
            <a:r>
              <a:rPr lang="en-US" sz="2800" dirty="0" err="1"/>
              <a:t>Vultr</a:t>
            </a:r>
            <a:r>
              <a:rPr lang="en-US" sz="2800" dirty="0"/>
              <a:t> (32 </a:t>
            </a:r>
            <a:r>
              <a:rPr lang="en-US" sz="2800" dirty="0" err="1"/>
              <a:t>PoPs</a:t>
            </a:r>
            <a:r>
              <a:rPr lang="en-US" sz="2800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Client hitlist of .</a:t>
            </a:r>
            <a:r>
              <a:rPr lang="en-US" sz="2800" dirty="0" err="1"/>
              <a:t>nl</a:t>
            </a:r>
            <a:r>
              <a:rPr lang="en-US" sz="2800" dirty="0"/>
              <a:t>-querying resolvers (230K IPv4 addresses and 73K IPv6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Unicast ping measurement from all </a:t>
            </a:r>
            <a:r>
              <a:rPr lang="en-US" sz="2800" dirty="0" err="1"/>
              <a:t>PoPs</a:t>
            </a:r>
            <a:r>
              <a:rPr lang="en-US" sz="2800" dirty="0"/>
              <a:t> to all clients (73% respons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965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A28DEC-41A3-14EC-329F-8A40F5CBCC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09295D-45FD-7F66-A668-C8F8A51B54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tting it to the test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B9EC47-44D8-8F0B-A93C-3A2B5BA1E3E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43182" y="1089000"/>
            <a:ext cx="11671340" cy="4680000"/>
          </a:xfrm>
        </p:spPr>
        <p:txBody>
          <a:bodyPr/>
          <a:lstStyle/>
          <a:p>
            <a:r>
              <a:rPr lang="en-US" sz="2800" b="1" dirty="0"/>
              <a:t>Optimization</a:t>
            </a: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Generate anycast deployments for 3, 5, 7, 9, 11, 13, 15, 17 sit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Run </a:t>
            </a:r>
            <a:r>
              <a:rPr lang="en-US" sz="2800" u="sng" dirty="0"/>
              <a:t>optimization</a:t>
            </a:r>
            <a:r>
              <a:rPr lang="en-US" sz="2800" dirty="0"/>
              <a:t> algorithm for each number of sites =&gt; 8 deploy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Generate 5 </a:t>
            </a:r>
            <a:r>
              <a:rPr lang="en-US" sz="2800" u="sng" dirty="0"/>
              <a:t>random </a:t>
            </a:r>
            <a:r>
              <a:rPr lang="en-US" sz="2800" dirty="0"/>
              <a:t>configuration for each number =&gt; 40 deploy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Deploy them with anycast and evaluate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422489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aph with blue and orange dots&#10;&#10;AI-generated content may be incorrect.">
            <a:extLst>
              <a:ext uri="{FF2B5EF4-FFF2-40B4-BE49-F238E27FC236}">
                <a16:creationId xmlns:a16="http://schemas.microsoft.com/office/drawing/2014/main" id="{7C3A27E6-EEC5-16E0-C8AF-1B0547C738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339" y="474490"/>
            <a:ext cx="8743720" cy="64558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49F3CD-8E14-2C96-CC5D-5DB001CF2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926" y="61281"/>
            <a:ext cx="11274147" cy="498475"/>
          </a:xfrm>
        </p:spPr>
        <p:txBody>
          <a:bodyPr/>
          <a:lstStyle/>
          <a:p>
            <a:r>
              <a:rPr lang="en-US" dirty="0"/>
              <a:t>Results: Autocast-suggested configurations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2F5E12-AA54-732B-8170-51A0F03EE5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9183338" y="1441565"/>
            <a:ext cx="2877323" cy="4606925"/>
          </a:xfrm>
        </p:spPr>
        <p:txBody>
          <a:bodyPr/>
          <a:lstStyle/>
          <a:p>
            <a:r>
              <a:rPr lang="en-US" sz="2800" dirty="0"/>
              <a:t>Predicted vs observed latency diff: </a:t>
            </a:r>
            <a:r>
              <a:rPr lang="en-US" sz="2800" u="sng" dirty="0"/>
              <a:t>1.57ms</a:t>
            </a:r>
          </a:p>
          <a:p>
            <a:endParaRPr lang="en-US" sz="2800" dirty="0"/>
          </a:p>
          <a:p>
            <a:r>
              <a:rPr lang="en-US" sz="2800" dirty="0"/>
              <a:t>Weighted by nr queries: </a:t>
            </a:r>
            <a:r>
              <a:rPr lang="en-US" sz="2800" u="sng" dirty="0"/>
              <a:t>0.19ms</a:t>
            </a:r>
          </a:p>
        </p:txBody>
      </p:sp>
    </p:spTree>
    <p:extLst>
      <p:ext uri="{BB962C8B-B14F-4D97-AF65-F5344CB8AC3E}">
        <p14:creationId xmlns:p14="http://schemas.microsoft.com/office/powerpoint/2010/main" val="2757580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157E99-D958-00EB-6FEE-04406866C9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aph with blue and orange dots&#10;&#10;AI-generated content may be incorrect.">
            <a:extLst>
              <a:ext uri="{FF2B5EF4-FFF2-40B4-BE49-F238E27FC236}">
                <a16:creationId xmlns:a16="http://schemas.microsoft.com/office/drawing/2014/main" id="{6EE6C377-2AEE-DF1B-1EC1-F86B49E985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340" y="466714"/>
            <a:ext cx="8834718" cy="64575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F23D68E-DA20-751B-8EC7-EC57BC23B8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926" y="63338"/>
            <a:ext cx="11274147" cy="498475"/>
          </a:xfrm>
        </p:spPr>
        <p:txBody>
          <a:bodyPr/>
          <a:lstStyle/>
          <a:p>
            <a:r>
              <a:rPr lang="en-US" dirty="0"/>
              <a:t>Results: random configurations</a:t>
            </a:r>
          </a:p>
        </p:txBody>
      </p:sp>
    </p:spTree>
    <p:extLst>
      <p:ext uri="{BB962C8B-B14F-4D97-AF65-F5344CB8AC3E}">
        <p14:creationId xmlns:p14="http://schemas.microsoft.com/office/powerpoint/2010/main" val="412955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map with orange pointers and arrows pointing to a person&#10;&#10;AI-generated content may be incorrect.">
            <a:extLst>
              <a:ext uri="{FF2B5EF4-FFF2-40B4-BE49-F238E27FC236}">
                <a16:creationId xmlns:a16="http://schemas.microsoft.com/office/drawing/2014/main" id="{DA65FE8C-E3F8-0607-1403-6177A70BB8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6353" y="876300"/>
            <a:ext cx="3521597" cy="29505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06B491F-B6C9-4997-A3BA-F8F683329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: Assumptions (or shortcuts)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31CC5DC-FF70-09BB-511A-218D662D5E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234050" y="1163003"/>
            <a:ext cx="9332859" cy="2117407"/>
          </a:xfrm>
        </p:spPr>
        <p:txBody>
          <a:bodyPr/>
          <a:lstStyle/>
          <a:p>
            <a:r>
              <a:rPr lang="en-US" sz="2800" u="sng" dirty="0"/>
              <a:t>Assumption 1 violations</a:t>
            </a:r>
          </a:p>
          <a:p>
            <a:r>
              <a:rPr lang="en-US" sz="2800" dirty="0"/>
              <a:t>Optimal deployment: 26.8% of clients, 11.8% of queries</a:t>
            </a:r>
          </a:p>
          <a:p>
            <a:r>
              <a:rPr lang="en-US" sz="2800" dirty="0"/>
              <a:t>Random deployment: 40.8% of clients, 34.5% of queries</a:t>
            </a:r>
          </a:p>
        </p:txBody>
      </p:sp>
      <p:pic>
        <p:nvPicPr>
          <p:cNvPr id="6" name="Picture 5" descr="A map of europe with a location and numbers&#10;&#10;AI-generated content may be incorrect.">
            <a:extLst>
              <a:ext uri="{FF2B5EF4-FFF2-40B4-BE49-F238E27FC236}">
                <a16:creationId xmlns:a16="http://schemas.microsoft.com/office/drawing/2014/main" id="{F55E2B60-467C-9C91-44BD-BF52151AE9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68" y="3577591"/>
            <a:ext cx="3388552" cy="2850029"/>
          </a:xfrm>
          <a:prstGeom prst="rect">
            <a:avLst/>
          </a:prstGeom>
        </p:spPr>
      </p:pic>
      <p:sp>
        <p:nvSpPr>
          <p:cNvPr id="7" name="Vertical Text Placeholder 2">
            <a:extLst>
              <a:ext uri="{FF2B5EF4-FFF2-40B4-BE49-F238E27FC236}">
                <a16:creationId xmlns:a16="http://schemas.microsoft.com/office/drawing/2014/main" id="{ED24FA33-2AA7-50AF-3E27-3D00320F07FA}"/>
              </a:ext>
            </a:extLst>
          </p:cNvPr>
          <p:cNvSpPr txBox="1">
            <a:spLocks/>
          </p:cNvSpPr>
          <p:nvPr/>
        </p:nvSpPr>
        <p:spPr>
          <a:xfrm>
            <a:off x="3711629" y="3826828"/>
            <a:ext cx="8246321" cy="1868169"/>
          </a:xfrm>
          <a:prstGeom prst="rect">
            <a:avLst/>
          </a:prstGeom>
        </p:spPr>
        <p:txBody>
          <a:bodyPr vert="horz" lIns="0" tIns="108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2400" kern="1200" baseline="0" noProof="0" dirty="0" smtClean="0">
                <a:solidFill>
                  <a:srgbClr val="656565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2400" kern="1200" baseline="0" noProof="0" dirty="0" smtClean="0">
                <a:solidFill>
                  <a:srgbClr val="656565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2400" kern="1200" noProof="0" dirty="0" smtClean="0">
                <a:solidFill>
                  <a:srgbClr val="656565"/>
                </a:solidFill>
                <a:latin typeface="+mn-lt"/>
                <a:ea typeface="+mn-ea"/>
                <a:cs typeface="+mn-cs"/>
              </a:defRPr>
            </a:lvl3pPr>
            <a:lvl4pPr marL="3556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2400" kern="1200" noProof="0" dirty="0" smtClean="0">
                <a:solidFill>
                  <a:srgbClr val="656565"/>
                </a:solidFill>
                <a:latin typeface="+mn-lt"/>
                <a:ea typeface="+mn-ea"/>
                <a:cs typeface="+mn-cs"/>
              </a:defRPr>
            </a:lvl4pPr>
            <a:lvl5pPr marL="5334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2400" kern="1200" baseline="0" noProof="0" dirty="0" smtClean="0">
                <a:solidFill>
                  <a:srgbClr val="656565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rgbClr val="6565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rgbClr val="656565"/>
                </a:solidFill>
                <a:latin typeface="+mn-lt"/>
                <a:ea typeface="+mn-ea"/>
                <a:cs typeface="+mn-cs"/>
              </a:defRPr>
            </a:lvl7pPr>
            <a:lvl8pPr marL="177800" indent="-177800" algn="l" defTabSz="9144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656565"/>
                </a:solidFill>
                <a:latin typeface="+mn-lt"/>
                <a:ea typeface="+mn-ea"/>
                <a:cs typeface="+mn-cs"/>
              </a:defRPr>
            </a:lvl8pPr>
            <a:lvl9pPr marL="355600" indent="-177800" algn="l" defTabSz="9144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656565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u="sng" dirty="0"/>
              <a:t>Assumption 2</a:t>
            </a:r>
          </a:p>
          <a:p>
            <a:r>
              <a:rPr lang="en-US" sz="2800" dirty="0"/>
              <a:t>Median difference: 0.06ms</a:t>
            </a:r>
          </a:p>
          <a:p>
            <a:r>
              <a:rPr lang="en-US" sz="2800" dirty="0"/>
              <a:t>μ=0.29ms, σ=14.6ms, Cohen’s d=0.02, sample size of 284K </a:t>
            </a:r>
          </a:p>
        </p:txBody>
      </p:sp>
    </p:spTree>
    <p:extLst>
      <p:ext uri="{BB962C8B-B14F-4D97-AF65-F5344CB8AC3E}">
        <p14:creationId xmlns:p14="http://schemas.microsoft.com/office/powerpoint/2010/main" val="410283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8FF879-94CB-93A2-4876-AC18587C0F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EE204B5-E049-2C07-60F9-A637EAF221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8927" y="1089000"/>
            <a:ext cx="10856772" cy="46800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It seems to work quite well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Assumption 1 holds well enough to predict perform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Fast results and accurate predic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Use in production</a:t>
            </a:r>
          </a:p>
          <a:p>
            <a:endParaRPr lang="en-US" sz="28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267889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>
            <a:extLst>
              <a:ext uri="{FF2B5EF4-FFF2-40B4-BE49-F238E27FC236}">
                <a16:creationId xmlns:a16="http://schemas.microsoft.com/office/drawing/2014/main" id="{66503011-FD72-C867-EF53-FE18CB56D3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781" y="751976"/>
            <a:ext cx="11656437" cy="5917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C60E592-0E17-B2E3-9560-00D26A38A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087" y="256527"/>
            <a:ext cx="11274147" cy="498475"/>
          </a:xfrm>
        </p:spPr>
        <p:txBody>
          <a:bodyPr/>
          <a:lstStyle/>
          <a:p>
            <a:r>
              <a:rPr lang="en-US" dirty="0"/>
              <a:t>Anycast rout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28C4B2-1093-D8C2-CCE4-AF90525411D5}"/>
              </a:ext>
            </a:extLst>
          </p:cNvPr>
          <p:cNvSpPr txBox="1"/>
          <p:nvPr/>
        </p:nvSpPr>
        <p:spPr>
          <a:xfrm>
            <a:off x="6095155" y="1612222"/>
            <a:ext cx="15776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94.0.28.5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4C3745-3E2C-A202-3B0D-80D910767B95}"/>
              </a:ext>
            </a:extLst>
          </p:cNvPr>
          <p:cNvSpPr txBox="1"/>
          <p:nvPr/>
        </p:nvSpPr>
        <p:spPr>
          <a:xfrm>
            <a:off x="4642030" y="1484282"/>
            <a:ext cx="15776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94.0.28.53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AB1AE32-A92B-21B8-1ACD-94FB67DE97E1}"/>
              </a:ext>
            </a:extLst>
          </p:cNvPr>
          <p:cNvSpPr txBox="1"/>
          <p:nvPr/>
        </p:nvSpPr>
        <p:spPr>
          <a:xfrm>
            <a:off x="10096358" y="2046539"/>
            <a:ext cx="15776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94.0.28.5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7D30E-BE76-81C6-5C18-7DF82E92A08E}"/>
              </a:ext>
            </a:extLst>
          </p:cNvPr>
          <p:cNvSpPr txBox="1"/>
          <p:nvPr/>
        </p:nvSpPr>
        <p:spPr>
          <a:xfrm>
            <a:off x="10477960" y="4603373"/>
            <a:ext cx="15776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94.0.28.5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4DE6F8-777F-590C-8739-F32CFF5F3473}"/>
              </a:ext>
            </a:extLst>
          </p:cNvPr>
          <p:cNvSpPr txBox="1"/>
          <p:nvPr/>
        </p:nvSpPr>
        <p:spPr>
          <a:xfrm>
            <a:off x="4381385" y="4252307"/>
            <a:ext cx="15776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94.0.28.5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A1AB59-AC47-245E-9B44-37F01117A8BE}"/>
              </a:ext>
            </a:extLst>
          </p:cNvPr>
          <p:cNvSpPr txBox="1"/>
          <p:nvPr/>
        </p:nvSpPr>
        <p:spPr>
          <a:xfrm>
            <a:off x="3600273" y="1919999"/>
            <a:ext cx="15776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94.0.28.5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33ECAFC-D01C-98D5-A507-91CBF04C0D6C}"/>
              </a:ext>
            </a:extLst>
          </p:cNvPr>
          <p:cNvSpPr txBox="1"/>
          <p:nvPr/>
        </p:nvSpPr>
        <p:spPr>
          <a:xfrm>
            <a:off x="795169" y="2052001"/>
            <a:ext cx="15776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94.0.28.53</a:t>
            </a:r>
          </a:p>
        </p:txBody>
      </p:sp>
      <p:pic>
        <p:nvPicPr>
          <p:cNvPr id="28" name="Graphic 27" descr="Marker with solid fill">
            <a:extLst>
              <a:ext uri="{FF2B5EF4-FFF2-40B4-BE49-F238E27FC236}">
                <a16:creationId xmlns:a16="http://schemas.microsoft.com/office/drawing/2014/main" id="{C16CF74F-DC9E-C475-2D92-C67987535E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09824" y="1375015"/>
            <a:ext cx="498475" cy="498475"/>
          </a:xfrm>
          <a:prstGeom prst="rect">
            <a:avLst/>
          </a:prstGeom>
        </p:spPr>
      </p:pic>
      <p:pic>
        <p:nvPicPr>
          <p:cNvPr id="29" name="Graphic 28" descr="Marker with solid fill">
            <a:extLst>
              <a:ext uri="{FF2B5EF4-FFF2-40B4-BE49-F238E27FC236}">
                <a16:creationId xmlns:a16="http://schemas.microsoft.com/office/drawing/2014/main" id="{F77AEA77-2472-8FEA-8ADD-F887E66ABCA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01872" y="1462286"/>
            <a:ext cx="498475" cy="498475"/>
          </a:xfrm>
          <a:prstGeom prst="rect">
            <a:avLst/>
          </a:prstGeom>
        </p:spPr>
      </p:pic>
      <p:pic>
        <p:nvPicPr>
          <p:cNvPr id="30" name="Graphic 29" descr="Marker with solid fill">
            <a:extLst>
              <a:ext uri="{FF2B5EF4-FFF2-40B4-BE49-F238E27FC236}">
                <a16:creationId xmlns:a16="http://schemas.microsoft.com/office/drawing/2014/main" id="{ACCDF547-4839-830D-0B1B-18CC04BC78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28535" y="1792059"/>
            <a:ext cx="498475" cy="498475"/>
          </a:xfrm>
          <a:prstGeom prst="rect">
            <a:avLst/>
          </a:prstGeom>
        </p:spPr>
      </p:pic>
      <p:pic>
        <p:nvPicPr>
          <p:cNvPr id="31" name="Graphic 30" descr="Marker with solid fill">
            <a:extLst>
              <a:ext uri="{FF2B5EF4-FFF2-40B4-BE49-F238E27FC236}">
                <a16:creationId xmlns:a16="http://schemas.microsoft.com/office/drawing/2014/main" id="{4CB268C8-B7FA-8FE4-0453-865B141AAB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61104" y="1909318"/>
            <a:ext cx="498475" cy="498475"/>
          </a:xfrm>
          <a:prstGeom prst="rect">
            <a:avLst/>
          </a:prstGeom>
        </p:spPr>
      </p:pic>
      <p:pic>
        <p:nvPicPr>
          <p:cNvPr id="32" name="Graphic 31" descr="Marker with solid fill">
            <a:extLst>
              <a:ext uri="{FF2B5EF4-FFF2-40B4-BE49-F238E27FC236}">
                <a16:creationId xmlns:a16="http://schemas.microsoft.com/office/drawing/2014/main" id="{EEE7112C-25EB-F82F-0385-D38BFA2C6B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64847" y="4146967"/>
            <a:ext cx="498475" cy="498475"/>
          </a:xfrm>
          <a:prstGeom prst="rect">
            <a:avLst/>
          </a:prstGeom>
        </p:spPr>
      </p:pic>
      <p:pic>
        <p:nvPicPr>
          <p:cNvPr id="33" name="Graphic 32" descr="Marker with solid fill">
            <a:extLst>
              <a:ext uri="{FF2B5EF4-FFF2-40B4-BE49-F238E27FC236}">
                <a16:creationId xmlns:a16="http://schemas.microsoft.com/office/drawing/2014/main" id="{3D70D2C2-6FEC-8842-A9B1-D0216335736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59449" y="4518799"/>
            <a:ext cx="498475" cy="498475"/>
          </a:xfrm>
          <a:prstGeom prst="rect">
            <a:avLst/>
          </a:prstGeom>
        </p:spPr>
      </p:pic>
      <p:pic>
        <p:nvPicPr>
          <p:cNvPr id="34" name="Graphic 33" descr="Marker with solid fill">
            <a:extLst>
              <a:ext uri="{FF2B5EF4-FFF2-40B4-BE49-F238E27FC236}">
                <a16:creationId xmlns:a16="http://schemas.microsoft.com/office/drawing/2014/main" id="{392EE650-79AB-5895-B71F-F1C3260D8F4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76453" y="1989179"/>
            <a:ext cx="498475" cy="498475"/>
          </a:xfrm>
          <a:prstGeom prst="rect">
            <a:avLst/>
          </a:prstGeom>
        </p:spPr>
      </p:pic>
      <p:pic>
        <p:nvPicPr>
          <p:cNvPr id="7" name="Graphic 6" descr="User with solid fill">
            <a:extLst>
              <a:ext uri="{FF2B5EF4-FFF2-40B4-BE49-F238E27FC236}">
                <a16:creationId xmlns:a16="http://schemas.microsoft.com/office/drawing/2014/main" id="{CCE8EA7E-8CCF-EE3D-8F31-C5F54B806B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27081" y="2545645"/>
            <a:ext cx="360556" cy="360556"/>
          </a:xfrm>
          <a:prstGeom prst="rect">
            <a:avLst/>
          </a:prstGeom>
        </p:spPr>
      </p:pic>
      <p:pic>
        <p:nvPicPr>
          <p:cNvPr id="9" name="Graphic 8" descr="User with solid fill">
            <a:extLst>
              <a:ext uri="{FF2B5EF4-FFF2-40B4-BE49-F238E27FC236}">
                <a16:creationId xmlns:a16="http://schemas.microsoft.com/office/drawing/2014/main" id="{C0482A8A-6A32-03CE-C363-AA5D25BCA4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17216" y="3860019"/>
            <a:ext cx="360556" cy="360556"/>
          </a:xfrm>
          <a:prstGeom prst="rect">
            <a:avLst/>
          </a:prstGeom>
        </p:spPr>
      </p:pic>
      <p:pic>
        <p:nvPicPr>
          <p:cNvPr id="10" name="Graphic 9" descr="User with solid fill">
            <a:extLst>
              <a:ext uri="{FF2B5EF4-FFF2-40B4-BE49-F238E27FC236}">
                <a16:creationId xmlns:a16="http://schemas.microsoft.com/office/drawing/2014/main" id="{F91E3605-039D-9163-9116-3C7D197DD6A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72845" y="2670726"/>
            <a:ext cx="360556" cy="360556"/>
          </a:xfrm>
          <a:prstGeom prst="rect">
            <a:avLst/>
          </a:prstGeom>
        </p:spPr>
      </p:pic>
      <p:pic>
        <p:nvPicPr>
          <p:cNvPr id="11" name="Graphic 10" descr="User with solid fill">
            <a:extLst>
              <a:ext uri="{FF2B5EF4-FFF2-40B4-BE49-F238E27FC236}">
                <a16:creationId xmlns:a16="http://schemas.microsoft.com/office/drawing/2014/main" id="{40E9F8E2-5B09-3F1A-F083-DB10F9793E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43172" y="2249874"/>
            <a:ext cx="360556" cy="360556"/>
          </a:xfrm>
          <a:prstGeom prst="rect">
            <a:avLst/>
          </a:prstGeom>
        </p:spPr>
      </p:pic>
      <p:pic>
        <p:nvPicPr>
          <p:cNvPr id="13" name="Graphic 12" descr="User with solid fill">
            <a:extLst>
              <a:ext uri="{FF2B5EF4-FFF2-40B4-BE49-F238E27FC236}">
                <a16:creationId xmlns:a16="http://schemas.microsoft.com/office/drawing/2014/main" id="{5202F69C-894B-2CC5-ECAF-BE23B14C08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27010" y="3334233"/>
            <a:ext cx="360556" cy="360556"/>
          </a:xfrm>
          <a:prstGeom prst="rect">
            <a:avLst/>
          </a:prstGeom>
        </p:spPr>
      </p:pic>
      <p:pic>
        <p:nvPicPr>
          <p:cNvPr id="16" name="Graphic 15" descr="User with solid fill">
            <a:extLst>
              <a:ext uri="{FF2B5EF4-FFF2-40B4-BE49-F238E27FC236}">
                <a16:creationId xmlns:a16="http://schemas.microsoft.com/office/drawing/2014/main" id="{14E38872-7DFD-7023-D05B-CCA1000172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70548" y="4035648"/>
            <a:ext cx="360556" cy="360556"/>
          </a:xfrm>
          <a:prstGeom prst="rect">
            <a:avLst/>
          </a:prstGeom>
        </p:spPr>
      </p:pic>
      <p:pic>
        <p:nvPicPr>
          <p:cNvPr id="20" name="Graphic 19" descr="User with solid fill">
            <a:extLst>
              <a:ext uri="{FF2B5EF4-FFF2-40B4-BE49-F238E27FC236}">
                <a16:creationId xmlns:a16="http://schemas.microsoft.com/office/drawing/2014/main" id="{6A99767E-8319-3BB9-F8ED-49A7C356DA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160732" y="2610430"/>
            <a:ext cx="360556" cy="360556"/>
          </a:xfrm>
          <a:prstGeom prst="rect">
            <a:avLst/>
          </a:prstGeom>
        </p:spPr>
      </p:pic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08C6DD7E-05C6-9C63-5782-FE3F61DAF528}"/>
              </a:ext>
            </a:extLst>
          </p:cNvPr>
          <p:cNvCxnSpPr>
            <a:cxnSpLocks/>
          </p:cNvCxnSpPr>
          <p:nvPr/>
        </p:nvCxnSpPr>
        <p:spPr>
          <a:xfrm flipH="1" flipV="1">
            <a:off x="2209800" y="2430152"/>
            <a:ext cx="228600" cy="36055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7D45522E-1BAB-11EC-22C0-F49881D996ED}"/>
              </a:ext>
            </a:extLst>
          </p:cNvPr>
          <p:cNvCxnSpPr>
            <a:cxnSpLocks/>
          </p:cNvCxnSpPr>
          <p:nvPr/>
        </p:nvCxnSpPr>
        <p:spPr>
          <a:xfrm flipH="1">
            <a:off x="3242132" y="2158555"/>
            <a:ext cx="271352" cy="27159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CB0A7845-37F8-5FDA-0538-1AA1218C833F}"/>
              </a:ext>
            </a:extLst>
          </p:cNvPr>
          <p:cNvCxnSpPr>
            <a:cxnSpLocks/>
          </p:cNvCxnSpPr>
          <p:nvPr/>
        </p:nvCxnSpPr>
        <p:spPr>
          <a:xfrm flipH="1" flipV="1">
            <a:off x="4064847" y="3694789"/>
            <a:ext cx="185420" cy="52113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F6BB7CBE-1589-3618-381D-6EE3EA159D40}"/>
              </a:ext>
            </a:extLst>
          </p:cNvPr>
          <p:cNvCxnSpPr>
            <a:cxnSpLocks/>
          </p:cNvCxnSpPr>
          <p:nvPr/>
        </p:nvCxnSpPr>
        <p:spPr>
          <a:xfrm flipH="1" flipV="1">
            <a:off x="3550771" y="4146967"/>
            <a:ext cx="606786" cy="21607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B6E8593B-F915-10AE-3E02-BD1AC6DCDDE7}"/>
              </a:ext>
            </a:extLst>
          </p:cNvPr>
          <p:cNvCxnSpPr>
            <a:cxnSpLocks/>
          </p:cNvCxnSpPr>
          <p:nvPr/>
        </p:nvCxnSpPr>
        <p:spPr>
          <a:xfrm flipH="1" flipV="1">
            <a:off x="6106161" y="1909015"/>
            <a:ext cx="514091" cy="70039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7BB442D7-9E9B-A836-6A81-4809BDC2556B}"/>
              </a:ext>
            </a:extLst>
          </p:cNvPr>
          <p:cNvCxnSpPr>
            <a:cxnSpLocks/>
          </p:cNvCxnSpPr>
          <p:nvPr/>
        </p:nvCxnSpPr>
        <p:spPr>
          <a:xfrm flipV="1">
            <a:off x="9494287" y="2407793"/>
            <a:ext cx="456841" cy="38291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6BCB56FA-A9AD-2F9E-3D4E-0E923AC4FE38}"/>
              </a:ext>
            </a:extLst>
          </p:cNvPr>
          <p:cNvCxnSpPr>
            <a:cxnSpLocks/>
          </p:cNvCxnSpPr>
          <p:nvPr/>
        </p:nvCxnSpPr>
        <p:spPr>
          <a:xfrm flipH="1" flipV="1">
            <a:off x="10042808" y="4399987"/>
            <a:ext cx="232120" cy="36804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2003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EBD2A9-CF45-4EEC-D367-ACF4B22970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ycast, anywhere: Equinix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CDE864C-2E7C-92C6-DB67-C405351FE1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209427D-BFEA-22CF-142E-26A90E522C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022" y="1102141"/>
            <a:ext cx="10787330" cy="489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343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7217A-8758-729A-5F26-4E0BFB1188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ycast, anywhere: i3D.net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0D0AFCD-AB7A-BE68-F316-AB2F0FB1DF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1306C32-AA63-2AC1-96A1-65772E2CA28A}"/>
              </a:ext>
            </a:extLst>
          </p:cNvPr>
          <p:cNvSpPr>
            <a:spLocks noGrp="1"/>
          </p:cNvSpPr>
          <p:nvPr>
            <p:ph type="pic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7EAC76-6AEA-3345-D220-164F5A385A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926" y="981839"/>
            <a:ext cx="9383487" cy="5641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630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BBABD-7176-93AD-4F91-C9E5C8C6AF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ycast, anywhere: </a:t>
            </a:r>
            <a:r>
              <a:rPr lang="en-US" dirty="0" err="1"/>
              <a:t>Vultr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97B9AA-ECCA-E1C3-EAA3-2F9C7C424A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6" descr="A map of the world with blue dots&#10;&#10;AI-generated content may be incorrect.">
            <a:extLst>
              <a:ext uri="{FF2B5EF4-FFF2-40B4-BE49-F238E27FC236}">
                <a16:creationId xmlns:a16="http://schemas.microsoft.com/office/drawing/2014/main" id="{76EAC02B-D3C2-614D-ABBF-AAE79B92A7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143" y="1092201"/>
            <a:ext cx="10114694" cy="5118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610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33D93A-2FFD-A633-E0C7-3C5A89DEF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ich anycast locations do we choose?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DB985A-A17B-1D85-8F22-FA8A125D77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8926" y="1107794"/>
            <a:ext cx="11611152" cy="4931409"/>
          </a:xfrm>
        </p:spPr>
        <p:txBody>
          <a:bodyPr/>
          <a:lstStyle/>
          <a:p>
            <a:r>
              <a:rPr lang="en-US" sz="2800" dirty="0"/>
              <a:t>We want to: minimize latency, ensure resilience, save on cos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Best practices, literature, constant tweak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All the locations?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Can we do it based on measurements? Data-driv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Select 10 sites from 40 points of presence =&gt; </a:t>
            </a:r>
            <a:r>
              <a:rPr lang="en-US" sz="2800" u="sng" dirty="0"/>
              <a:t>847M combinations</a:t>
            </a: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Performance of all possible anycast configurations </a:t>
            </a:r>
            <a:r>
              <a:rPr lang="en-US" sz="2800" u="sng" dirty="0"/>
              <a:t>cannot be measured</a:t>
            </a:r>
          </a:p>
          <a:p>
            <a:endParaRPr lang="en-US" sz="2800" u="sng" dirty="0"/>
          </a:p>
          <a:p>
            <a:endParaRPr lang="en-US" sz="2800" u="sng" dirty="0"/>
          </a:p>
        </p:txBody>
      </p:sp>
    </p:spTree>
    <p:extLst>
      <p:ext uri="{BB962C8B-B14F-4D97-AF65-F5344CB8AC3E}">
        <p14:creationId xmlns:p14="http://schemas.microsoft.com/office/powerpoint/2010/main" val="328018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40A0E4-7208-855E-1ED1-6E709EB43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cast (automating anycast)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5F5ED0-894F-18EE-E498-346299B9DC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8928" y="1092201"/>
            <a:ext cx="11274146" cy="4680000"/>
          </a:xfrm>
        </p:spPr>
        <p:txBody>
          <a:bodyPr/>
          <a:lstStyle/>
          <a:p>
            <a:endParaRPr lang="en-US" sz="2800" b="1" dirty="0"/>
          </a:p>
          <a:p>
            <a:r>
              <a:rPr lang="en-US" sz="2800" dirty="0"/>
              <a:t>A measurement-based anycast site selection method to minimize client latency</a:t>
            </a:r>
          </a:p>
          <a:p>
            <a:endParaRPr lang="en-US" sz="2800" dirty="0"/>
          </a:p>
          <a:p>
            <a:r>
              <a:rPr lang="en-US" sz="2800" dirty="0"/>
              <a:t>Requirement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Fast resul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Accurate predicto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Rooted in operations</a:t>
            </a:r>
          </a:p>
        </p:txBody>
      </p:sp>
    </p:spTree>
    <p:extLst>
      <p:ext uri="{BB962C8B-B14F-4D97-AF65-F5344CB8AC3E}">
        <p14:creationId xmlns:p14="http://schemas.microsoft.com/office/powerpoint/2010/main" val="3031109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E14A8F-1142-C5B9-1680-9E9C925E29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map with orange pointers and arrows pointing to a person&#10;&#10;AI-generated content may be incorrect.">
            <a:extLst>
              <a:ext uri="{FF2B5EF4-FFF2-40B4-BE49-F238E27FC236}">
                <a16:creationId xmlns:a16="http://schemas.microsoft.com/office/drawing/2014/main" id="{730CB2B0-0861-5294-DE87-C7E9D369EE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926" y="2382670"/>
            <a:ext cx="5168900" cy="43307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DF2051F-F2DA-DA9C-6F42-5C307F46D1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cast assumptions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21EF4E-AF13-D393-B2BD-D06A8CD8A0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285750" y="1092201"/>
            <a:ext cx="11818620" cy="4680000"/>
          </a:xfrm>
        </p:spPr>
        <p:txBody>
          <a:bodyPr/>
          <a:lstStyle/>
          <a:p>
            <a:r>
              <a:rPr lang="en-US" sz="2800" dirty="0"/>
              <a:t>Assumption 1: clients are routed to the anycast site with the lowest latency</a:t>
            </a:r>
          </a:p>
          <a:p>
            <a:r>
              <a:rPr lang="en-US" sz="2800" dirty="0"/>
              <a:t>Assumption 2: anycast and unicast latencies to the same anycast site are the same</a:t>
            </a:r>
          </a:p>
        </p:txBody>
      </p:sp>
      <p:pic>
        <p:nvPicPr>
          <p:cNvPr id="7" name="Picture 6" descr="A map of europe with a location and numbers&#10;&#10;AI-generated content may be incorrect.">
            <a:extLst>
              <a:ext uri="{FF2B5EF4-FFF2-40B4-BE49-F238E27FC236}">
                <a16:creationId xmlns:a16="http://schemas.microsoft.com/office/drawing/2014/main" id="{9CA46DA7-B3D3-6E82-19EE-8CE8C9F05AD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666" y="2344570"/>
            <a:ext cx="5194300" cy="436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946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53F3FE-51D6-6A7B-9862-ABCBF341D1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EF6775-48B2-D547-A9B0-13ACCB283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: Measuring the unmeasurab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C049A66-7F9C-D211-B986-D936B819DB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8928" y="1092201"/>
            <a:ext cx="11274146" cy="4680000"/>
          </a:xfrm>
        </p:spPr>
        <p:txBody>
          <a:bodyPr/>
          <a:lstStyle/>
          <a:p>
            <a:r>
              <a:rPr lang="en-US" sz="2800" dirty="0"/>
              <a:t>Step 1: measure the latency from all possible anycast </a:t>
            </a:r>
            <a:r>
              <a:rPr lang="en-US" sz="2800" dirty="0" err="1"/>
              <a:t>PoPs</a:t>
            </a:r>
            <a:r>
              <a:rPr lang="en-US" sz="2800" dirty="0"/>
              <a:t> to all clients </a:t>
            </a:r>
          </a:p>
          <a:p>
            <a:endParaRPr lang="en-US" sz="2800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905F980-13B2-C067-929E-404258EBD9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7997261"/>
              </p:ext>
            </p:extLst>
          </p:nvPr>
        </p:nvGraphicFramePr>
        <p:xfrm>
          <a:off x="2956878" y="3119279"/>
          <a:ext cx="6278244" cy="315515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77311">
                  <a:extLst>
                    <a:ext uri="{9D8B030D-6E8A-4147-A177-3AD203B41FA5}">
                      <a16:colId xmlns:a16="http://schemas.microsoft.com/office/drawing/2014/main" val="2618665067"/>
                    </a:ext>
                  </a:extLst>
                </a:gridCol>
                <a:gridCol w="1040130">
                  <a:extLst>
                    <a:ext uri="{9D8B030D-6E8A-4147-A177-3AD203B41FA5}">
                      <a16:colId xmlns:a16="http://schemas.microsoft.com/office/drawing/2014/main" val="725247770"/>
                    </a:ext>
                  </a:extLst>
                </a:gridCol>
                <a:gridCol w="1085850">
                  <a:extLst>
                    <a:ext uri="{9D8B030D-6E8A-4147-A177-3AD203B41FA5}">
                      <a16:colId xmlns:a16="http://schemas.microsoft.com/office/drawing/2014/main" val="358321653"/>
                    </a:ext>
                  </a:extLst>
                </a:gridCol>
                <a:gridCol w="1040130">
                  <a:extLst>
                    <a:ext uri="{9D8B030D-6E8A-4147-A177-3AD203B41FA5}">
                      <a16:colId xmlns:a16="http://schemas.microsoft.com/office/drawing/2014/main" val="3993693278"/>
                    </a:ext>
                  </a:extLst>
                </a:gridCol>
                <a:gridCol w="1040130">
                  <a:extLst>
                    <a:ext uri="{9D8B030D-6E8A-4147-A177-3AD203B41FA5}">
                      <a16:colId xmlns:a16="http://schemas.microsoft.com/office/drawing/2014/main" val="2560769600"/>
                    </a:ext>
                  </a:extLst>
                </a:gridCol>
                <a:gridCol w="794693">
                  <a:extLst>
                    <a:ext uri="{9D8B030D-6E8A-4147-A177-3AD203B41FA5}">
                      <a16:colId xmlns:a16="http://schemas.microsoft.com/office/drawing/2014/main" val="973849970"/>
                    </a:ext>
                  </a:extLst>
                </a:gridCol>
              </a:tblGrid>
              <a:tr h="707803">
                <a:tc>
                  <a:txBody>
                    <a:bodyPr/>
                    <a:lstStyle/>
                    <a:p>
                      <a:r>
                        <a:rPr lang="en-US" sz="2000" dirty="0"/>
                        <a:t>Ping R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ite A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ite 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ite 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ite D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6197364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Client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14.3m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65.6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22.1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6.7m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0315862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Client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21.0m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84.1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9.2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26.1m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987398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Client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40.5m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9.3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38.5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31.1m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479582"/>
                  </a:ext>
                </a:extLst>
              </a:tr>
              <a:tr h="611838"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.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84605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1709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9aab7fab855238e1f637c6cf2a909b658fb1e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DN_2016_ENG">
  <a:themeElements>
    <a:clrScheme name="SIDN">
      <a:dk1>
        <a:sysClr val="windowText" lastClr="000000"/>
      </a:dk1>
      <a:lt1>
        <a:sysClr val="window" lastClr="FFFFFF"/>
      </a:lt1>
      <a:dk2>
        <a:srgbClr val="002154"/>
      </a:dk2>
      <a:lt2>
        <a:srgbClr val="0062A9"/>
      </a:lt2>
      <a:accent1>
        <a:srgbClr val="642180"/>
      </a:accent1>
      <a:accent2>
        <a:srgbClr val="1CAACB"/>
      </a:accent2>
      <a:accent3>
        <a:srgbClr val="219550"/>
      </a:accent3>
      <a:accent4>
        <a:srgbClr val="F15936"/>
      </a:accent4>
      <a:accent5>
        <a:srgbClr val="003368"/>
      </a:accent5>
      <a:accent6>
        <a:srgbClr val="00B9B6"/>
      </a:accent6>
      <a:hlink>
        <a:srgbClr val="0062A9"/>
      </a:hlink>
      <a:folHlink>
        <a:srgbClr val="0062A9"/>
      </a:folHlink>
    </a:clrScheme>
    <a:fontScheme name="SIDN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Word" ma:contentTypeID="0x010100561DD06E28B3584FBFA3C34DC116C1800C0026BF656F925F8C4791DB1EC2F5B6247D" ma:contentTypeVersion="4" ma:contentTypeDescription="" ma:contentTypeScope="" ma:versionID="d9f27d0e949150774b990a1613355a7a">
  <xsd:schema xmlns:xsd="http://www.w3.org/2001/XMLSchema" xmlns:xs="http://www.w3.org/2001/XMLSchema" xmlns:p="http://schemas.microsoft.com/office/2006/metadata/properties" xmlns:ns2="65449f65-8689-47e6-aa44-217172c0ae6b" targetNamespace="http://schemas.microsoft.com/office/2006/metadata/properties" ma:root="true" ma:fieldsID="05168a9be55cbba62df5fbf73d7ff151" ns2:_="">
    <xsd:import namespace="65449f65-8689-47e6-aa44-217172c0ae6b"/>
    <xsd:element name="properties">
      <xsd:complexType>
        <xsd:sequence>
          <xsd:element name="documentManagement">
            <xsd:complexType>
              <xsd:all>
                <xsd:element ref="ns2:SP_Classification" minOccurs="0"/>
                <xsd:element ref="ns2:SP_Author" minOccurs="0"/>
                <xsd:element ref="ns2:SP_Contact" minOccurs="0"/>
                <xsd:element ref="ns2:SP_DocRef" minOccurs="0"/>
                <xsd:element ref="ns2:SP_ExtraInfo" minOccurs="0"/>
                <xsd:element ref="ns2:SP_DocumentStatus" minOccurs="0"/>
                <xsd:element ref="ns2:SP_Year" minOccurs="0"/>
                <xsd:element ref="ns2:SP_Quarter" minOccurs="0"/>
                <xsd:element ref="ns2:d1539f7a0ecf4237b74565dbfbad77ff" minOccurs="0"/>
                <xsd:element ref="ns2:p55e13f65d2843eeb598ac8370a853af" minOccurs="0"/>
                <xsd:element ref="ns2:TaxCatchAll" minOccurs="0"/>
                <xsd:element ref="ns2:c6ee351b1184471cb2fafcf8596ac576" minOccurs="0"/>
                <xsd:element ref="ns2:m0459b32cb084c9fb4726f92b52b53b0" minOccurs="0"/>
                <xsd:element ref="ns2:TaxCatchAllLabel" minOccurs="0"/>
                <xsd:element ref="ns2:ce7db9954ccc4f5f8f407571f8063f07" minOccurs="0"/>
                <xsd:element ref="ns2:g7535cb0b1cc4036a1846f2dce200e2f" minOccurs="0"/>
                <xsd:element ref="ns2:k4d260258d7849f5a9589900e59b5239" minOccurs="0"/>
                <xsd:element ref="ns2:SP_ArchiveDate" minOccurs="0"/>
                <xsd:element ref="ns2:ModificationDatePreMigr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449f65-8689-47e6-aa44-217172c0ae6b" elementFormDefault="qualified">
    <xsd:import namespace="http://schemas.microsoft.com/office/2006/documentManagement/types"/>
    <xsd:import namespace="http://schemas.microsoft.com/office/infopath/2007/PartnerControls"/>
    <xsd:element name="SP_Classification" ma:index="2" nillable="true" ma:displayName="Classification" ma:default="Internal" ma:format="Dropdown" ma:internalName="SP_Classification" ma:readOnly="false">
      <xsd:simpleType>
        <xsd:restriction base="dms:Choice">
          <xsd:enumeration value="Public"/>
          <xsd:enumeration value="Internal"/>
          <xsd:enumeration value="Classified"/>
          <xsd:enumeration value="Secret"/>
        </xsd:restriction>
      </xsd:simpleType>
    </xsd:element>
    <xsd:element name="SP_Author" ma:index="7" nillable="true" ma:displayName="Author" ma:list="UserInfo" ma:SharePointGroup="0" ma:internalName="SP_Autho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P_Contact" ma:index="8" nillable="true" ma:displayName="Contact" ma:list="UserInfo" ma:SharePointGroup="0" ma:internalName="SP_Contact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P_DocRef" ma:index="9" nillable="true" ma:displayName="DocRef" ma:internalName="SP_DocRef" ma:readOnly="false">
      <xsd:simpleType>
        <xsd:restriction base="dms:Text">
          <xsd:maxLength value="255"/>
        </xsd:restriction>
      </xsd:simpleType>
    </xsd:element>
    <xsd:element name="SP_ExtraInfo" ma:index="10" nillable="true" ma:displayName="Extra Info" ma:internalName="SP_ExtraInfo" ma:readOnly="false">
      <xsd:simpleType>
        <xsd:restriction base="dms:Text">
          <xsd:maxLength value="255"/>
        </xsd:restriction>
      </xsd:simpleType>
    </xsd:element>
    <xsd:element name="SP_DocumentStatus" ma:index="11" nillable="true" ma:displayName="Document Status" ma:default="Draft" ma:format="Dropdown" ma:internalName="SP_DocumentStatus" ma:readOnly="false">
      <xsd:simpleType>
        <xsd:restriction base="dms:Choice">
          <xsd:enumeration value="Draft"/>
          <xsd:enumeration value="Local"/>
          <xsd:enumeration value="Published"/>
        </xsd:restriction>
      </xsd:simpleType>
    </xsd:element>
    <xsd:element name="SP_Year" ma:index="13" nillable="true" ma:displayName="Year" ma:format="Dropdown" ma:internalName="SP_Year" ma:readOnly="false">
      <xsd:simpleType>
        <xsd:restriction base="dms:Choice">
          <xsd:enumeration value="2007"/>
          <xsd:enumeration value="2008"/>
          <xsd:enumeration value="2009"/>
          <xsd:enumeration value="2010"/>
          <xsd:enumeration value="2011"/>
          <xsd:enumeration value="2012"/>
          <xsd:enumeration value="2013"/>
          <xsd:enumeration value="2014"/>
          <xsd:enumeration value="2015"/>
          <xsd:enumeration value="2016"/>
          <xsd:enumeration value="2017"/>
          <xsd:enumeration value="2018"/>
          <xsd:enumeration value="2019"/>
          <xsd:enumeration value="2020"/>
          <xsd:enumeration value="2021"/>
          <xsd:enumeration value="2022"/>
          <xsd:enumeration value="2023"/>
          <xsd:enumeration value="2024"/>
          <xsd:enumeration value="2025"/>
        </xsd:restriction>
      </xsd:simpleType>
    </xsd:element>
    <xsd:element name="SP_Quarter" ma:index="14" nillable="true" ma:displayName="Quarter" ma:format="Dropdown" ma:internalName="SP_Quarter" ma:readOnly="false">
      <xsd:simpleType>
        <xsd:restriction base="dms:Choice">
          <xsd:enumeration value="Q1"/>
          <xsd:enumeration value="Q2"/>
          <xsd:enumeration value="Q3"/>
          <xsd:enumeration value="Q4"/>
        </xsd:restriction>
      </xsd:simpleType>
    </xsd:element>
    <xsd:element name="d1539f7a0ecf4237b74565dbfbad77ff" ma:index="17" nillable="true" ma:taxonomy="true" ma:internalName="d1539f7a0ecf4237b74565dbfbad77ff" ma:taxonomyFieldName="Team" ma:displayName="Team" ma:readOnly="false" ma:default="1;#SIDN|4071a565-5dcc-4a75-ac1f-0b9897da7414" ma:fieldId="{d1539f7a-0ecf-4237-b745-65dbfbad77ff}" ma:sspId="e801051c-8ff2-4418-89ac-59886105901c" ma:termSetId="fefb8b02-2c02-49a4-b1b2-e4f81b12205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55e13f65d2843eeb598ac8370a853af" ma:index="20" nillable="true" ma:taxonomy="true" ma:internalName="p55e13f65d2843eeb598ac8370a853af" ma:taxonomyFieldName="SP_DocumentType" ma:displayName="Document Type" ma:readOnly="false" ma:fieldId="{955e13f6-5d28-43ee-b598-ac8370a853af}" ma:sspId="e801051c-8ff2-4418-89ac-59886105901c" ma:termSetId="4c77c84d-0584-47c2-a438-85df6ea8468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f33c0845-ac37-4ce5-a1d6-2ad3cce7e87e}" ma:internalName="TaxCatchAll" ma:readOnly="false" ma:showField="CatchAllData" ma:web="487f6cde-4b20-420d-aa54-5a3bf31d61b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6ee351b1184471cb2fafcf8596ac576" ma:index="23" nillable="true" ma:taxonomy="true" ma:internalName="c6ee351b1184471cb2fafcf8596ac576" ma:taxonomyFieldName="SP_Searchtags" ma:displayName="Searchtags" ma:readOnly="false" ma:fieldId="{c6ee351b-1184-471c-b2fa-fcf8596ac576}" ma:taxonomyMulti="true" ma:sspId="e801051c-8ff2-4418-89ac-59886105901c" ma:termSetId="a2db928f-8c1d-4fc4-87a3-ba6ae60dd998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m0459b32cb084c9fb4726f92b52b53b0" ma:index="25" nillable="true" ma:taxonomy="true" ma:internalName="m0459b32cb084c9fb4726f92b52b53b0" ma:taxonomyFieldName="SP_InfoCategory" ma:displayName="Information Category" ma:readOnly="false" ma:fieldId="{60459b32-cb08-4c9f-b472-6f92b52b53b0}" ma:sspId="e801051c-8ff2-4418-89ac-59886105901c" ma:termSetId="ca2b7acc-f21a-4d9d-8423-e2b1856f960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Label" ma:index="26" nillable="true" ma:displayName="Taxonomy Catch All Column1" ma:hidden="true" ma:list="{f33c0845-ac37-4ce5-a1d6-2ad3cce7e87e}" ma:internalName="TaxCatchAllLabel" ma:readOnly="true" ma:showField="CatchAllDataLabel" ma:web="487f6cde-4b20-420d-aa54-5a3bf31d61b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e7db9954ccc4f5f8f407571f8063f07" ma:index="28" nillable="true" ma:taxonomy="true" ma:internalName="ce7db9954ccc4f5f8f407571f8063f07" ma:taxonomyFieldName="SP_ArchiveGroup" ma:displayName="Archive Group" ma:readOnly="false" ma:fieldId="{ce7db995-4ccc-4f5f-8f40-7571f8063f07}" ma:sspId="e801051c-8ff2-4418-89ac-59886105901c" ma:termSetId="2c3f5e75-1862-4adf-bcc3-f3cc42ba481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7535cb0b1cc4036a1846f2dce200e2f" ma:index="29" nillable="true" ma:taxonomy="true" ma:internalName="g7535cb0b1cc4036a1846f2dce200e2f" ma:taxonomyFieldName="SP_InfoOwner" ma:displayName="Owner" ma:readOnly="false" ma:fieldId="{07535cb0-b1cc-4036-a184-6f2dce200e2f}" ma:sspId="e801051c-8ff2-4418-89ac-59886105901c" ma:termSetId="7eea982b-ce73-471f-bae3-a2e687c7cc9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4d260258d7849f5a9589900e59b5239" ma:index="30" nillable="true" ma:taxonomy="true" ma:internalName="k4d260258d7849f5a9589900e59b5239" ma:taxonomyFieldName="SP_ArchiveAfter" ma:displayName="Archive  Period" ma:readOnly="false" ma:fieldId="{44d26025-8d78-49f5-a958-9900e59b5239}" ma:sspId="e801051c-8ff2-4418-89ac-59886105901c" ma:termSetId="e0270609-2132-43a1-9aa6-1601cfd3d4b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P_ArchiveDate" ma:index="32" nillable="true" ma:displayName="Archive Date" ma:format="DateOnly" ma:hidden="true" ma:internalName="SP_ArchiveDate" ma:readOnly="false">
      <xsd:simpleType>
        <xsd:restriction base="dms:DateTime"/>
      </xsd:simpleType>
    </xsd:element>
    <xsd:element name="ModificationDatePreMigration" ma:index="33" nillable="true" ma:displayName="ModificationDatePreMigration" ma:description="Modification date before migration" ma:format="DateTime" ma:hidden="true" ma:internalName="ModificationDatePreMigration" ma:readOnly="fals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1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P_Quarter xmlns="65449f65-8689-47e6-aa44-217172c0ae6b" xsi:nil="true"/>
    <SP_DocumentStatus xmlns="65449f65-8689-47e6-aa44-217172c0ae6b">Draft</SP_DocumentStatus>
    <SP_Author xmlns="65449f65-8689-47e6-aa44-217172c0ae6b">
      <UserInfo>
        <DisplayName/>
        <AccountId xsi:nil="true"/>
        <AccountType/>
      </UserInfo>
    </SP_Author>
    <SP_DocRef xmlns="65449f65-8689-47e6-aa44-217172c0ae6b" xsi:nil="true"/>
    <TaxCatchAll xmlns="65449f65-8689-47e6-aa44-217172c0ae6b">
      <Value>2</Value>
      <Value>3</Value>
    </TaxCatchAll>
    <SP_ExtraInfo xmlns="65449f65-8689-47e6-aa44-217172c0ae6b" xsi:nil="true"/>
    <p55e13f65d2843eeb598ac8370a853af xmlns="65449f65-8689-47e6-aa44-217172c0ae6b">
      <Terms xmlns="http://schemas.microsoft.com/office/infopath/2007/PartnerControls"/>
    </p55e13f65d2843eeb598ac8370a853af>
    <m0459b32cb084c9fb4726f92b52b53b0 xmlns="65449f65-8689-47e6-aa44-217172c0ae6b">
      <Terms xmlns="http://schemas.microsoft.com/office/infopath/2007/PartnerControls"/>
    </m0459b32cb084c9fb4726f92b52b53b0>
    <SP_ArchiveDate xmlns="65449f65-8689-47e6-aa44-217172c0ae6b" xsi:nil="true"/>
    <c6ee351b1184471cb2fafcf8596ac576 xmlns="65449f65-8689-47e6-aa44-217172c0ae6b">
      <Terms xmlns="http://schemas.microsoft.com/office/infopath/2007/PartnerControls"/>
    </c6ee351b1184471cb2fafcf8596ac576>
    <SP_Classification xmlns="65449f65-8689-47e6-aa44-217172c0ae6b">Internal</SP_Classification>
    <SP_Contact xmlns="65449f65-8689-47e6-aa44-217172c0ae6b">
      <UserInfo>
        <DisplayName/>
        <AccountId xsi:nil="true"/>
        <AccountType/>
      </UserInfo>
    </SP_Contact>
    <ce7db9954ccc4f5f8f407571f8063f07 xmlns="65449f65-8689-47e6-aa44-217172c0ae6b">
      <Terms xmlns="http://schemas.microsoft.com/office/infopath/2007/PartnerControls"/>
    </ce7db9954ccc4f5f8f407571f8063f07>
    <ModificationDatePreMigration xmlns="65449f65-8689-47e6-aa44-217172c0ae6b" xsi:nil="true"/>
    <d1539f7a0ecf4237b74565dbfbad77ff xmlns="65449f65-8689-47e6-aa44-217172c0ae6b">
      <Terms xmlns="http://schemas.microsoft.com/office/infopath/2007/PartnerControls">
        <TermInfo xmlns="http://schemas.microsoft.com/office/infopath/2007/PartnerControls">
          <TermName xmlns="http://schemas.microsoft.com/office/infopath/2007/PartnerControls">SIDN Labs</TermName>
          <TermId xmlns="http://schemas.microsoft.com/office/infopath/2007/PartnerControls">7a412665-22e5-4215-b5e9-dd422026c6d0</TermId>
        </TermInfo>
      </Terms>
    </d1539f7a0ecf4237b74565dbfbad77ff>
    <SP_Year xmlns="65449f65-8689-47e6-aa44-217172c0ae6b" xsi:nil="true"/>
    <g7535cb0b1cc4036a1846f2dce200e2f xmlns="65449f65-8689-47e6-aa44-217172c0ae6b">
      <Terms xmlns="http://schemas.microsoft.com/office/infopath/2007/PartnerControls">
        <TermInfo xmlns="http://schemas.microsoft.com/office/infopath/2007/PartnerControls">
          <TermName xmlns="http://schemas.microsoft.com/office/infopath/2007/PartnerControls">SIDN Labs</TermName>
          <TermId xmlns="http://schemas.microsoft.com/office/infopath/2007/PartnerControls">e8c5efe7-93dc-4592-8bc3-567adef5194b</TermId>
        </TermInfo>
      </Terms>
    </g7535cb0b1cc4036a1846f2dce200e2f>
    <k4d260258d7849f5a9589900e59b5239 xmlns="65449f65-8689-47e6-aa44-217172c0ae6b">
      <Terms xmlns="http://schemas.microsoft.com/office/infopath/2007/PartnerControls"/>
    </k4d260258d7849f5a9589900e59b5239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haredContentType xmlns="Microsoft.SharePoint.Taxonomy.ContentTypeSync" SourceId="e801051c-8ff2-4418-89ac-59886105901c" ContentTypeId="0x010100561DD06E28B3584FBFA3C34DC116C1800C" PreviousValue="false"/>
</file>

<file path=customXml/item5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Props1.xml><?xml version="1.0" encoding="utf-8"?>
<ds:datastoreItem xmlns:ds="http://schemas.openxmlformats.org/officeDocument/2006/customXml" ds:itemID="{79D5863D-3B3F-42B2-952F-938C3ACE63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5449f65-8689-47e6-aa44-217172c0ae6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BD8E447-1C31-4912-B134-67E0E95BE8B0}">
  <ds:schemaRefs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purl.org/dc/terms/"/>
    <ds:schemaRef ds:uri="http://purl.org/dc/elements/1.1/"/>
    <ds:schemaRef ds:uri="http://schemas.microsoft.com/office/infopath/2007/PartnerControls"/>
    <ds:schemaRef ds:uri="http://schemas.microsoft.com/office/2006/metadata/properties"/>
    <ds:schemaRef ds:uri="65449f65-8689-47e6-aa44-217172c0ae6b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B563E1C-8CEE-4BC9-86F6-E7ECAF5623CD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6C7CE44-74C1-46A8-A72F-3F896692D888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D29496A3-DA74-4674-9A6C-E38BC70FB2E4}">
  <ds:schemaRefs>
    <ds:schemaRef ds:uri="http://schemas.microsoft.com/office/2006/metadata/customXsn"/>
  </ds:schemaRefs>
</ds:datastoreItem>
</file>

<file path=docMetadata/LabelInfo.xml><?xml version="1.0" encoding="utf-8"?>
<clbl:labelList xmlns:clbl="http://schemas.microsoft.com/office/2020/mipLabelMetadata">
  <clbl:label id="{ab4d3626-c1c5-4a75-ab85-427f1a644a7d}" enabled="0" method="" siteId="{ab4d3626-c1c5-4a75-ab85-427f1a644a7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638</TotalTime>
  <Words>674</Words>
  <Application>Microsoft Macintosh PowerPoint</Application>
  <PresentationFormat>Widescreen</PresentationFormat>
  <Paragraphs>237</Paragraphs>
  <Slides>1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Calibri</vt:lpstr>
      <vt:lpstr>Consolas</vt:lpstr>
      <vt:lpstr>Georgia</vt:lpstr>
      <vt:lpstr>Open Sans Light</vt:lpstr>
      <vt:lpstr>Segoe UI Light</vt:lpstr>
      <vt:lpstr>Wingdings</vt:lpstr>
      <vt:lpstr>SIDN_2016_ENG</vt:lpstr>
      <vt:lpstr>think-cell Slide</vt:lpstr>
      <vt:lpstr>Autocast: automatic anycast site optimization </vt:lpstr>
      <vt:lpstr>Anycast routing</vt:lpstr>
      <vt:lpstr>Anycast, anywhere: Equinix</vt:lpstr>
      <vt:lpstr>Anycast, anywhere: i3D.net</vt:lpstr>
      <vt:lpstr>Anycast, anywhere: Vultr</vt:lpstr>
      <vt:lpstr>Which anycast locations do we choose?</vt:lpstr>
      <vt:lpstr>Autocast (automating anycast)</vt:lpstr>
      <vt:lpstr>Autocast assumptions</vt:lpstr>
      <vt:lpstr>Method: Measuring the unmeasurable</vt:lpstr>
      <vt:lpstr>Measuring the unmeasurable</vt:lpstr>
      <vt:lpstr>Measuring the unmeasurable</vt:lpstr>
      <vt:lpstr>Measuring the unmeasurable</vt:lpstr>
      <vt:lpstr>Optimization</vt:lpstr>
      <vt:lpstr>Putting it to the test on Vultr</vt:lpstr>
      <vt:lpstr>Putting it to the test</vt:lpstr>
      <vt:lpstr>Results: Autocast-suggested configurations</vt:lpstr>
      <vt:lpstr>Results: random configurations</vt:lpstr>
      <vt:lpstr>Re: Assumptions (or shortcuts)</vt:lpstr>
      <vt:lpstr>Conclusion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subject/>
  <dc:creator>SIDN &amp; DNS Belgium</dc:creator>
  <cp:keywords/>
  <dc:description/>
  <cp:lastModifiedBy>Thijs van den Hout</cp:lastModifiedBy>
  <cp:revision>3</cp:revision>
  <dcterms:created xsi:type="dcterms:W3CDTF">2016-02-09T09:55:56Z</dcterms:created>
  <dcterms:modified xsi:type="dcterms:W3CDTF">2025-09-24T14:35:1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P_ArchiveAfter">
    <vt:lpwstr/>
  </property>
  <property fmtid="{D5CDD505-2E9C-101B-9397-08002B2CF9AE}" pid="3" name="SP_ArchiveGroup">
    <vt:lpwstr/>
  </property>
  <property fmtid="{D5CDD505-2E9C-101B-9397-08002B2CF9AE}" pid="4" name="SP_DocumentType">
    <vt:lpwstr/>
  </property>
  <property fmtid="{D5CDD505-2E9C-101B-9397-08002B2CF9AE}" pid="5" name="Team">
    <vt:lpwstr>3;#SIDN Labs|7a412665-22e5-4215-b5e9-dd422026c6d0</vt:lpwstr>
  </property>
  <property fmtid="{D5CDD505-2E9C-101B-9397-08002B2CF9AE}" pid="6" name="SP_InfoCategory">
    <vt:lpwstr/>
  </property>
  <property fmtid="{D5CDD505-2E9C-101B-9397-08002B2CF9AE}" pid="7" name="SP_Searchtags">
    <vt:lpwstr/>
  </property>
  <property fmtid="{D5CDD505-2E9C-101B-9397-08002B2CF9AE}" pid="8" name="SP_InfoOwner">
    <vt:lpwstr>2;#SIDN Labs|e8c5efe7-93dc-4592-8bc3-567adef5194b</vt:lpwstr>
  </property>
  <property fmtid="{D5CDD505-2E9C-101B-9397-08002B2CF9AE}" pid="9" name="MediaServiceImageTags">
    <vt:lpwstr/>
  </property>
  <property fmtid="{D5CDD505-2E9C-101B-9397-08002B2CF9AE}" pid="10" name="lcf76f155ced4ddcb4097134ff3c332f">
    <vt:lpwstr/>
  </property>
  <property fmtid="{D5CDD505-2E9C-101B-9397-08002B2CF9AE}" pid="11" name="SharedWithUsers">
    <vt:lpwstr>160;#Danielle Hermsen;#117;#Michiel Henneke;#288;#Thijs van den Hout;#227;#Alfredo Garcia Frias</vt:lpwstr>
  </property>
  <property fmtid="{D5CDD505-2E9C-101B-9397-08002B2CF9AE}" pid="12" name="ContentTypeId">
    <vt:lpwstr>0x010100561DD06E28B3584FBFA3C34DC116C1800C0026BF656F925F8C4791DB1EC2F5B6247D</vt:lpwstr>
  </property>
</Properties>
</file>